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4" r:id="rId5"/>
    <p:sldMasterId id="2147483687" r:id="rId6"/>
    <p:sldMasterId id="2147483694" r:id="rId7"/>
  </p:sldMasterIdLst>
  <p:notesMasterIdLst>
    <p:notesMasterId r:id="rId32"/>
  </p:notesMasterIdLst>
  <p:sldIdLst>
    <p:sldId id="262" r:id="rId8"/>
    <p:sldId id="260" r:id="rId9"/>
    <p:sldId id="1372" r:id="rId10"/>
    <p:sldId id="1373" r:id="rId11"/>
    <p:sldId id="1375" r:id="rId12"/>
    <p:sldId id="1431" r:id="rId13"/>
    <p:sldId id="1434" r:id="rId14"/>
    <p:sldId id="1419" r:id="rId15"/>
    <p:sldId id="1420" r:id="rId16"/>
    <p:sldId id="1421" r:id="rId17"/>
    <p:sldId id="1438" r:id="rId18"/>
    <p:sldId id="1426" r:id="rId19"/>
    <p:sldId id="1376" r:id="rId20"/>
    <p:sldId id="1363" r:id="rId21"/>
    <p:sldId id="1439" r:id="rId22"/>
    <p:sldId id="1333" r:id="rId23"/>
    <p:sldId id="1440" r:id="rId24"/>
    <p:sldId id="1417" r:id="rId25"/>
    <p:sldId id="1382" r:id="rId26"/>
    <p:sldId id="1433" r:id="rId27"/>
    <p:sldId id="1425" r:id="rId28"/>
    <p:sldId id="1423" r:id="rId29"/>
    <p:sldId id="1371" r:id="rId30"/>
    <p:sldId id="264" r:id="rId3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25" userDrawn="1">
          <p15:clr>
            <a:srgbClr val="A4A3A4"/>
          </p15:clr>
        </p15:guide>
        <p15:guide id="2" orient="horz" pos="3884" userDrawn="1">
          <p15:clr>
            <a:srgbClr val="A4A3A4"/>
          </p15:clr>
        </p15:guide>
        <p15:guide id="3" pos="257" userDrawn="1">
          <p15:clr>
            <a:srgbClr val="A4A3A4"/>
          </p15:clr>
        </p15:guide>
        <p15:guide id="4" pos="74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1AAC"/>
    <a:srgbClr val="01CBBD"/>
    <a:srgbClr val="00CBBD"/>
    <a:srgbClr val="953735"/>
    <a:srgbClr val="00B7A9"/>
    <a:srgbClr val="00DFD1"/>
    <a:srgbClr val="BFF2EE"/>
    <a:srgbClr val="66E0D7"/>
    <a:srgbClr val="4F81BD"/>
    <a:srgbClr val="84FE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5B3697-1D35-4124-878F-0C3719D17F3A}" v="758" dt="2026-02-11T10:55:45.891"/>
    <p1510:client id="{DACD544A-C132-42A0-BE73-ACBD73A52E6F}" v="885" dt="2026-02-10T14:38:26.5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17" autoAdjust="0"/>
    <p:restoredTop sz="93457" autoAdjust="0"/>
  </p:normalViewPr>
  <p:slideViewPr>
    <p:cSldViewPr snapToGrid="0">
      <p:cViewPr>
        <p:scale>
          <a:sx n="75" d="100"/>
          <a:sy n="75" d="100"/>
        </p:scale>
        <p:origin x="208" y="-336"/>
      </p:cViewPr>
      <p:guideLst>
        <p:guide orient="horz" pos="1525"/>
        <p:guide orient="horz" pos="3884"/>
        <p:guide pos="257"/>
        <p:guide pos="742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16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olfram Gießler" userId="d710c83e-c2b2-46fa-8643-6cc30f678a6f" providerId="ADAL" clId="{53F94D17-4E26-4594-ACF2-E90F79B91FFF}"/>
    <pc:docChg chg="undo custSel addSld delSld modSld sldOrd">
      <pc:chgData name="Wolfram Gießler" userId="d710c83e-c2b2-46fa-8643-6cc30f678a6f" providerId="ADAL" clId="{53F94D17-4E26-4594-ACF2-E90F79B91FFF}" dt="2026-02-11T10:59:59.982" v="1062" actId="1076"/>
      <pc:docMkLst>
        <pc:docMk/>
      </pc:docMkLst>
      <pc:sldChg chg="modSp mod">
        <pc:chgData name="Wolfram Gießler" userId="d710c83e-c2b2-46fa-8643-6cc30f678a6f" providerId="ADAL" clId="{53F94D17-4E26-4594-ACF2-E90F79B91FFF}" dt="2026-02-08T19:57:04.003" v="596" actId="6549"/>
        <pc:sldMkLst>
          <pc:docMk/>
          <pc:sldMk cId="3616957868" sldId="260"/>
        </pc:sldMkLst>
        <pc:spChg chg="mod">
          <ac:chgData name="Wolfram Gießler" userId="d710c83e-c2b2-46fa-8643-6cc30f678a6f" providerId="ADAL" clId="{53F94D17-4E26-4594-ACF2-E90F79B91FFF}" dt="2026-02-08T19:57:04.003" v="596" actId="6549"/>
          <ac:spMkLst>
            <pc:docMk/>
            <pc:sldMk cId="3616957868" sldId="260"/>
            <ac:spMk id="9" creationId="{F4CF1F9C-8742-EF21-A567-A419DB0614E1}"/>
          </ac:spMkLst>
        </pc:spChg>
      </pc:sldChg>
      <pc:sldChg chg="modNotesTx">
        <pc:chgData name="Wolfram Gießler" userId="d710c83e-c2b2-46fa-8643-6cc30f678a6f" providerId="ADAL" clId="{53F94D17-4E26-4594-ACF2-E90F79B91FFF}" dt="2026-02-10T11:53:03.437" v="989" actId="20577"/>
        <pc:sldMkLst>
          <pc:docMk/>
          <pc:sldMk cId="1115048540" sldId="262"/>
        </pc:sldMkLst>
      </pc:sldChg>
      <pc:sldChg chg="addSp delSp modSp add mod modClrScheme chgLayout">
        <pc:chgData name="Wolfram Gießler" userId="d710c83e-c2b2-46fa-8643-6cc30f678a6f" providerId="ADAL" clId="{53F94D17-4E26-4594-ACF2-E90F79B91FFF}" dt="2026-02-11T10:59:59.982" v="1062" actId="1076"/>
        <pc:sldMkLst>
          <pc:docMk/>
          <pc:sldMk cId="2660452198" sldId="1333"/>
        </pc:sldMkLst>
        <pc:spChg chg="del">
          <ac:chgData name="Wolfram Gießler" userId="d710c83e-c2b2-46fa-8643-6cc30f678a6f" providerId="ADAL" clId="{53F94D17-4E26-4594-ACF2-E90F79B91FFF}" dt="2026-02-10T08:55:02.317" v="692" actId="478"/>
          <ac:spMkLst>
            <pc:docMk/>
            <pc:sldMk cId="2660452198" sldId="1333"/>
            <ac:spMk id="4" creationId="{B37BF919-6F38-ADA8-74C3-B914A79CD3AF}"/>
          </ac:spMkLst>
        </pc:spChg>
        <pc:spChg chg="mod">
          <ac:chgData name="Wolfram Gießler" userId="d710c83e-c2b2-46fa-8643-6cc30f678a6f" providerId="ADAL" clId="{53F94D17-4E26-4594-ACF2-E90F79B91FFF}" dt="2026-02-11T10:58:48.533" v="1059" actId="1076"/>
          <ac:spMkLst>
            <pc:docMk/>
            <pc:sldMk cId="2660452198" sldId="1333"/>
            <ac:spMk id="7" creationId="{CC75E2A0-352B-28F7-6F5D-04E3FC2EE3DD}"/>
          </ac:spMkLst>
        </pc:spChg>
        <pc:picChg chg="add del mod">
          <ac:chgData name="Wolfram Gießler" userId="d710c83e-c2b2-46fa-8643-6cc30f678a6f" providerId="ADAL" clId="{53F94D17-4E26-4594-ACF2-E90F79B91FFF}" dt="2026-02-11T10:55:39.352" v="1048" actId="478"/>
          <ac:picMkLst>
            <pc:docMk/>
            <pc:sldMk cId="2660452198" sldId="1333"/>
            <ac:picMk id="3" creationId="{7FF46F3F-899D-7190-D710-3FC7732FDF86}"/>
          </ac:picMkLst>
        </pc:picChg>
        <pc:picChg chg="add del">
          <ac:chgData name="Wolfram Gießler" userId="d710c83e-c2b2-46fa-8643-6cc30f678a6f" providerId="ADAL" clId="{53F94D17-4E26-4594-ACF2-E90F79B91FFF}" dt="2026-02-11T10:55:56.940" v="1050" actId="478"/>
          <ac:picMkLst>
            <pc:docMk/>
            <pc:sldMk cId="2660452198" sldId="1333"/>
            <ac:picMk id="5" creationId="{7664285C-023E-1A09-04CE-A4C23600D7E9}"/>
          </ac:picMkLst>
        </pc:picChg>
        <pc:picChg chg="add mod">
          <ac:chgData name="Wolfram Gießler" userId="d710c83e-c2b2-46fa-8643-6cc30f678a6f" providerId="ADAL" clId="{53F94D17-4E26-4594-ACF2-E90F79B91FFF}" dt="2026-02-11T10:59:59.982" v="1062" actId="1076"/>
          <ac:picMkLst>
            <pc:docMk/>
            <pc:sldMk cId="2660452198" sldId="1333"/>
            <ac:picMk id="8" creationId="{4CC96C0B-060F-7470-82E9-CB5E3F0231AF}"/>
          </ac:picMkLst>
        </pc:picChg>
      </pc:sldChg>
      <pc:sldChg chg="addSp delSp modSp add mod modClrScheme modAnim chgLayout">
        <pc:chgData name="Wolfram Gießler" userId="d710c83e-c2b2-46fa-8643-6cc30f678a6f" providerId="ADAL" clId="{53F94D17-4E26-4594-ACF2-E90F79B91FFF}" dt="2026-02-10T09:27:41.263" v="793" actId="1076"/>
        <pc:sldMkLst>
          <pc:docMk/>
          <pc:sldMk cId="3920522796" sldId="1363"/>
        </pc:sldMkLst>
        <pc:spChg chg="mod modVis">
          <ac:chgData name="Wolfram Gießler" userId="d710c83e-c2b2-46fa-8643-6cc30f678a6f" providerId="ADAL" clId="{53F94D17-4E26-4594-ACF2-E90F79B91FFF}" dt="2026-02-08T19:24:31.665" v="364" actId="27636"/>
          <ac:spMkLst>
            <pc:docMk/>
            <pc:sldMk cId="3920522796" sldId="1363"/>
            <ac:spMk id="2" creationId="{33BBDCF5-E01F-F139-B7FC-335F624346B8}"/>
          </ac:spMkLst>
        </pc:spChg>
        <pc:spChg chg="add del mod">
          <ac:chgData name="Wolfram Gießler" userId="d710c83e-c2b2-46fa-8643-6cc30f678a6f" providerId="ADAL" clId="{53F94D17-4E26-4594-ACF2-E90F79B91FFF}" dt="2026-02-10T09:27:32.772" v="791" actId="478"/>
          <ac:spMkLst>
            <pc:docMk/>
            <pc:sldMk cId="3920522796" sldId="1363"/>
            <ac:spMk id="6" creationId="{08FF67D5-3CAD-B9BA-8565-18519DE95D96}"/>
          </ac:spMkLst>
        </pc:spChg>
        <pc:spChg chg="add mod">
          <ac:chgData name="Wolfram Gießler" userId="d710c83e-c2b2-46fa-8643-6cc30f678a6f" providerId="ADAL" clId="{53F94D17-4E26-4594-ACF2-E90F79B91FFF}" dt="2026-02-10T09:27:41.263" v="793" actId="1076"/>
          <ac:spMkLst>
            <pc:docMk/>
            <pc:sldMk cId="3920522796" sldId="1363"/>
            <ac:spMk id="7" creationId="{7AFA7867-E202-ECFE-EC5D-8D65EB7E591F}"/>
          </ac:spMkLst>
        </pc:spChg>
        <pc:spChg chg="mod">
          <ac:chgData name="Wolfram Gießler" userId="d710c83e-c2b2-46fa-8643-6cc30f678a6f" providerId="ADAL" clId="{53F94D17-4E26-4594-ACF2-E90F79B91FFF}" dt="2026-02-08T19:24:31.605" v="363" actId="26606"/>
          <ac:spMkLst>
            <pc:docMk/>
            <pc:sldMk cId="3920522796" sldId="1363"/>
            <ac:spMk id="8" creationId="{AF7B0FB9-8421-F4F8-E97C-EB0AFB170C60}"/>
          </ac:spMkLst>
        </pc:spChg>
        <pc:spChg chg="add mod">
          <ac:chgData name="Wolfram Gießler" userId="d710c83e-c2b2-46fa-8643-6cc30f678a6f" providerId="ADAL" clId="{53F94D17-4E26-4594-ACF2-E90F79B91FFF}" dt="2026-02-08T19:29:27.508" v="376" actId="12"/>
          <ac:spMkLst>
            <pc:docMk/>
            <pc:sldMk cId="3920522796" sldId="1363"/>
            <ac:spMk id="16" creationId="{F0240D14-1F75-456D-B74F-2E7444141EDF}"/>
          </ac:spMkLst>
        </pc:spChg>
        <pc:picChg chg="add del mod ord">
          <ac:chgData name="Wolfram Gießler" userId="d710c83e-c2b2-46fa-8643-6cc30f678a6f" providerId="ADAL" clId="{53F94D17-4E26-4594-ACF2-E90F79B91FFF}" dt="2026-02-10T09:27:15.662" v="790" actId="478"/>
          <ac:picMkLst>
            <pc:docMk/>
            <pc:sldMk cId="3920522796" sldId="1363"/>
            <ac:picMk id="4" creationId="{04245624-B7FE-39E1-FC93-AE036A087D80}"/>
          </ac:picMkLst>
        </pc:picChg>
      </pc:sldChg>
      <pc:sldChg chg="modSp add mod ord">
        <pc:chgData name="Wolfram Gießler" userId="d710c83e-c2b2-46fa-8643-6cc30f678a6f" providerId="ADAL" clId="{53F94D17-4E26-4594-ACF2-E90F79B91FFF}" dt="2026-02-10T09:29:05.355" v="795"/>
        <pc:sldMkLst>
          <pc:docMk/>
          <pc:sldMk cId="1573195901" sldId="1376"/>
        </pc:sldMkLst>
      </pc:sldChg>
      <pc:sldChg chg="ord">
        <pc:chgData name="Wolfram Gießler" userId="d710c83e-c2b2-46fa-8643-6cc30f678a6f" providerId="ADAL" clId="{53F94D17-4E26-4594-ACF2-E90F79B91FFF}" dt="2026-02-08T19:41:10.494" v="430"/>
        <pc:sldMkLst>
          <pc:docMk/>
          <pc:sldMk cId="2664006388" sldId="1382"/>
        </pc:sldMkLst>
      </pc:sldChg>
      <pc:sldChg chg="del">
        <pc:chgData name="Wolfram Gießler" userId="d710c83e-c2b2-46fa-8643-6cc30f678a6f" providerId="ADAL" clId="{53F94D17-4E26-4594-ACF2-E90F79B91FFF}" dt="2026-02-10T09:05:56.055" v="727" actId="2696"/>
        <pc:sldMkLst>
          <pc:docMk/>
          <pc:sldMk cId="63511511" sldId="1419"/>
        </pc:sldMkLst>
      </pc:sldChg>
      <pc:sldChg chg="add ord">
        <pc:chgData name="Wolfram Gießler" userId="d710c83e-c2b2-46fa-8643-6cc30f678a6f" providerId="ADAL" clId="{53F94D17-4E26-4594-ACF2-E90F79B91FFF}" dt="2026-02-10T09:08:25.936" v="744"/>
        <pc:sldMkLst>
          <pc:docMk/>
          <pc:sldMk cId="1199416113" sldId="1419"/>
        </pc:sldMkLst>
      </pc:sldChg>
      <pc:sldChg chg="add del ord">
        <pc:chgData name="Wolfram Gießler" userId="d710c83e-c2b2-46fa-8643-6cc30f678a6f" providerId="ADAL" clId="{53F94D17-4E26-4594-ACF2-E90F79B91FFF}" dt="2026-02-10T09:07:48.842" v="739" actId="2696"/>
        <pc:sldMkLst>
          <pc:docMk/>
          <pc:sldMk cId="2437645700" sldId="1419"/>
        </pc:sldMkLst>
      </pc:sldChg>
      <pc:sldChg chg="del">
        <pc:chgData name="Wolfram Gießler" userId="d710c83e-c2b2-46fa-8643-6cc30f678a6f" providerId="ADAL" clId="{53F94D17-4E26-4594-ACF2-E90F79B91FFF}" dt="2026-02-10T09:05:56.055" v="727" actId="2696"/>
        <pc:sldMkLst>
          <pc:docMk/>
          <pc:sldMk cId="3019901143" sldId="1420"/>
        </pc:sldMkLst>
      </pc:sldChg>
      <pc:sldChg chg="add ord">
        <pc:chgData name="Wolfram Gießler" userId="d710c83e-c2b2-46fa-8643-6cc30f678a6f" providerId="ADAL" clId="{53F94D17-4E26-4594-ACF2-E90F79B91FFF}" dt="2026-02-10T09:06:17.039" v="730"/>
        <pc:sldMkLst>
          <pc:docMk/>
          <pc:sldMk cId="3877823137" sldId="1420"/>
        </pc:sldMkLst>
      </pc:sldChg>
      <pc:sldChg chg="del">
        <pc:chgData name="Wolfram Gießler" userId="d710c83e-c2b2-46fa-8643-6cc30f678a6f" providerId="ADAL" clId="{53F94D17-4E26-4594-ACF2-E90F79B91FFF}" dt="2026-02-10T09:05:56.055" v="727" actId="2696"/>
        <pc:sldMkLst>
          <pc:docMk/>
          <pc:sldMk cId="406396929" sldId="1421"/>
        </pc:sldMkLst>
      </pc:sldChg>
      <pc:sldChg chg="add del ord">
        <pc:chgData name="Wolfram Gießler" userId="d710c83e-c2b2-46fa-8643-6cc30f678a6f" providerId="ADAL" clId="{53F94D17-4E26-4594-ACF2-E90F79B91FFF}" dt="2026-02-10T09:07:48.842" v="739" actId="2696"/>
        <pc:sldMkLst>
          <pc:docMk/>
          <pc:sldMk cId="814503625" sldId="1421"/>
        </pc:sldMkLst>
      </pc:sldChg>
      <pc:sldChg chg="addSp modSp add mod">
        <pc:chgData name="Wolfram Gießler" userId="d710c83e-c2b2-46fa-8643-6cc30f678a6f" providerId="ADAL" clId="{53F94D17-4E26-4594-ACF2-E90F79B91FFF}" dt="2026-02-10T17:40:22.335" v="1046" actId="1076"/>
        <pc:sldMkLst>
          <pc:docMk/>
          <pc:sldMk cId="1686197129" sldId="1421"/>
        </pc:sldMkLst>
        <pc:spChg chg="add mod">
          <ac:chgData name="Wolfram Gießler" userId="d710c83e-c2b2-46fa-8643-6cc30f678a6f" providerId="ADAL" clId="{53F94D17-4E26-4594-ACF2-E90F79B91FFF}" dt="2026-02-10T17:40:22.335" v="1046" actId="1076"/>
          <ac:spMkLst>
            <pc:docMk/>
            <pc:sldMk cId="1686197129" sldId="1421"/>
            <ac:spMk id="2" creationId="{D6096407-A2FA-0D4B-9F71-B257672BDBCC}"/>
          </ac:spMkLst>
        </pc:spChg>
      </pc:sldChg>
      <pc:sldChg chg="modSp mod ord">
        <pc:chgData name="Wolfram Gießler" userId="d710c83e-c2b2-46fa-8643-6cc30f678a6f" providerId="ADAL" clId="{53F94D17-4E26-4594-ACF2-E90F79B91FFF}" dt="2026-02-10T08:57:18.286" v="724" actId="20577"/>
        <pc:sldMkLst>
          <pc:docMk/>
          <pc:sldMk cId="2374355440" sldId="1423"/>
        </pc:sldMkLst>
        <pc:spChg chg="mod">
          <ac:chgData name="Wolfram Gießler" userId="d710c83e-c2b2-46fa-8643-6cc30f678a6f" providerId="ADAL" clId="{53F94D17-4E26-4594-ACF2-E90F79B91FFF}" dt="2026-02-10T08:57:18.286" v="724" actId="20577"/>
          <ac:spMkLst>
            <pc:docMk/>
            <pc:sldMk cId="2374355440" sldId="1423"/>
            <ac:spMk id="3" creationId="{3AC25A96-2F64-2699-B2EA-8163C9F74621}"/>
          </ac:spMkLst>
        </pc:spChg>
      </pc:sldChg>
      <pc:sldChg chg="del">
        <pc:chgData name="Wolfram Gießler" userId="d710c83e-c2b2-46fa-8643-6cc30f678a6f" providerId="ADAL" clId="{53F94D17-4E26-4594-ACF2-E90F79B91FFF}" dt="2026-02-10T09:05:56.055" v="727" actId="2696"/>
        <pc:sldMkLst>
          <pc:docMk/>
          <pc:sldMk cId="3618868189" sldId="1424"/>
        </pc:sldMkLst>
      </pc:sldChg>
      <pc:sldChg chg="addSp delSp modSp add mod ord">
        <pc:chgData name="Wolfram Gießler" userId="d710c83e-c2b2-46fa-8643-6cc30f678a6f" providerId="ADAL" clId="{53F94D17-4E26-4594-ACF2-E90F79B91FFF}" dt="2026-02-10T12:00:59.194" v="1006" actId="1076"/>
        <pc:sldMkLst>
          <pc:docMk/>
          <pc:sldMk cId="3671217131" sldId="1424"/>
        </pc:sldMkLst>
        <pc:spChg chg="del mod">
          <ac:chgData name="Wolfram Gießler" userId="d710c83e-c2b2-46fa-8643-6cc30f678a6f" providerId="ADAL" clId="{53F94D17-4E26-4594-ACF2-E90F79B91FFF}" dt="2026-02-10T11:59:46.900" v="991" actId="478"/>
          <ac:spMkLst>
            <pc:docMk/>
            <pc:sldMk cId="3671217131" sldId="1424"/>
            <ac:spMk id="2" creationId="{9EA5EB0D-8F7E-5F52-75A6-7AFD7E62A7EC}"/>
          </ac:spMkLst>
        </pc:spChg>
        <pc:picChg chg="mod">
          <ac:chgData name="Wolfram Gießler" userId="d710c83e-c2b2-46fa-8643-6cc30f678a6f" providerId="ADAL" clId="{53F94D17-4E26-4594-ACF2-E90F79B91FFF}" dt="2026-02-10T12:00:59.194" v="1006" actId="1076"/>
          <ac:picMkLst>
            <pc:docMk/>
            <pc:sldMk cId="3671217131" sldId="1424"/>
            <ac:picMk id="3" creationId="{57D0A735-06C6-7EDE-77A1-2D58ACA1A136}"/>
          </ac:picMkLst>
        </pc:picChg>
        <pc:picChg chg="add mod">
          <ac:chgData name="Wolfram Gießler" userId="d710c83e-c2b2-46fa-8643-6cc30f678a6f" providerId="ADAL" clId="{53F94D17-4E26-4594-ACF2-E90F79B91FFF}" dt="2026-02-10T12:00:54.875" v="1005" actId="1076"/>
          <ac:picMkLst>
            <pc:docMk/>
            <pc:sldMk cId="3671217131" sldId="1424"/>
            <ac:picMk id="6" creationId="{F621CCD5-266F-7404-B48A-4D7C680EF14A}"/>
          </ac:picMkLst>
        </pc:picChg>
      </pc:sldChg>
      <pc:sldChg chg="modSp mod ord">
        <pc:chgData name="Wolfram Gießler" userId="d710c83e-c2b2-46fa-8643-6cc30f678a6f" providerId="ADAL" clId="{53F94D17-4E26-4594-ACF2-E90F79B91FFF}" dt="2026-02-09T16:03:23.786" v="691" actId="20577"/>
        <pc:sldMkLst>
          <pc:docMk/>
          <pc:sldMk cId="1388570749" sldId="1425"/>
        </pc:sldMkLst>
        <pc:spChg chg="mod">
          <ac:chgData name="Wolfram Gießler" userId="d710c83e-c2b2-46fa-8643-6cc30f678a6f" providerId="ADAL" clId="{53F94D17-4E26-4594-ACF2-E90F79B91FFF}" dt="2026-02-09T16:03:23.786" v="691" actId="20577"/>
          <ac:spMkLst>
            <pc:docMk/>
            <pc:sldMk cId="1388570749" sldId="1425"/>
            <ac:spMk id="3" creationId="{8395CFA9-0FD6-6485-D362-F163DF0AB071}"/>
          </ac:spMkLst>
        </pc:spChg>
      </pc:sldChg>
      <pc:sldChg chg="ord">
        <pc:chgData name="Wolfram Gießler" userId="d710c83e-c2b2-46fa-8643-6cc30f678a6f" providerId="ADAL" clId="{53F94D17-4E26-4594-ACF2-E90F79B91FFF}" dt="2026-02-08T19:11:45.844" v="72"/>
        <pc:sldMkLst>
          <pc:docMk/>
          <pc:sldMk cId="3612306382" sldId="1426"/>
        </pc:sldMkLst>
      </pc:sldChg>
      <pc:sldChg chg="modSp add mod modAnim">
        <pc:chgData name="Wolfram Gießler" userId="d710c83e-c2b2-46fa-8643-6cc30f678a6f" providerId="ADAL" clId="{53F94D17-4E26-4594-ACF2-E90F79B91FFF}" dt="2026-02-10T09:23:46.805" v="789" actId="6549"/>
        <pc:sldMkLst>
          <pc:docMk/>
          <pc:sldMk cId="3726156149" sldId="1430"/>
        </pc:sldMkLst>
        <pc:spChg chg="mod">
          <ac:chgData name="Wolfram Gießler" userId="d710c83e-c2b2-46fa-8643-6cc30f678a6f" providerId="ADAL" clId="{53F94D17-4E26-4594-ACF2-E90F79B91FFF}" dt="2026-02-10T09:23:46.805" v="789" actId="6549"/>
          <ac:spMkLst>
            <pc:docMk/>
            <pc:sldMk cId="3726156149" sldId="1430"/>
            <ac:spMk id="2" creationId="{C86CF2F0-A3C4-93DE-97C6-A6918E912A02}"/>
          </ac:spMkLst>
        </pc:spChg>
        <pc:spChg chg="mod">
          <ac:chgData name="Wolfram Gießler" userId="d710c83e-c2b2-46fa-8643-6cc30f678a6f" providerId="ADAL" clId="{53F94D17-4E26-4594-ACF2-E90F79B91FFF}" dt="2026-02-10T09:23:41.690" v="788" actId="6549"/>
          <ac:spMkLst>
            <pc:docMk/>
            <pc:sldMk cId="3726156149" sldId="1430"/>
            <ac:spMk id="3" creationId="{B057CE9E-9629-B0B9-8EA9-B9D7EAC02B96}"/>
          </ac:spMkLst>
        </pc:spChg>
        <pc:spChg chg="mod">
          <ac:chgData name="Wolfram Gießler" userId="d710c83e-c2b2-46fa-8643-6cc30f678a6f" providerId="ADAL" clId="{53F94D17-4E26-4594-ACF2-E90F79B91FFF}" dt="2026-02-10T09:23:06.801" v="787" actId="20577"/>
          <ac:spMkLst>
            <pc:docMk/>
            <pc:sldMk cId="3726156149" sldId="1430"/>
            <ac:spMk id="13" creationId="{C7CB60D3-ABFC-599C-19E1-EA819A764A90}"/>
          </ac:spMkLst>
        </pc:spChg>
      </pc:sldChg>
      <pc:sldChg chg="addSp delSp modSp new del mod ord modClrScheme chgLayout">
        <pc:chgData name="Wolfram Gießler" userId="d710c83e-c2b2-46fa-8643-6cc30f678a6f" providerId="ADAL" clId="{53F94D17-4E26-4594-ACF2-E90F79B91FFF}" dt="2026-02-10T09:05:56.055" v="727" actId="2696"/>
        <pc:sldMkLst>
          <pc:docMk/>
          <pc:sldMk cId="515863608" sldId="1431"/>
        </pc:sldMkLst>
      </pc:sldChg>
      <pc:sldChg chg="add ord">
        <pc:chgData name="Wolfram Gießler" userId="d710c83e-c2b2-46fa-8643-6cc30f678a6f" providerId="ADAL" clId="{53F94D17-4E26-4594-ACF2-E90F79B91FFF}" dt="2026-02-10T09:08:08.771" v="742"/>
        <pc:sldMkLst>
          <pc:docMk/>
          <pc:sldMk cId="3704151958" sldId="1431"/>
        </pc:sldMkLst>
      </pc:sldChg>
      <pc:sldChg chg="addSp delSp modSp new mod ord modClrScheme chgLayout">
        <pc:chgData name="Wolfram Gießler" userId="d710c83e-c2b2-46fa-8643-6cc30f678a6f" providerId="ADAL" clId="{53F94D17-4E26-4594-ACF2-E90F79B91FFF}" dt="2026-02-08T19:53:47.555" v="543"/>
        <pc:sldMkLst>
          <pc:docMk/>
          <pc:sldMk cId="42882099" sldId="1433"/>
        </pc:sldMkLst>
        <pc:spChg chg="add mod ord">
          <ac:chgData name="Wolfram Gießler" userId="d710c83e-c2b2-46fa-8643-6cc30f678a6f" providerId="ADAL" clId="{53F94D17-4E26-4594-ACF2-E90F79B91FFF}" dt="2026-02-08T19:52:27.524" v="531" actId="1076"/>
          <ac:spMkLst>
            <pc:docMk/>
            <pc:sldMk cId="42882099" sldId="1433"/>
            <ac:spMk id="8" creationId="{9A25CC80-845E-4630-B963-C7B8EFB0FD89}"/>
          </ac:spMkLst>
        </pc:spChg>
        <pc:picChg chg="add mod">
          <ac:chgData name="Wolfram Gießler" userId="d710c83e-c2b2-46fa-8643-6cc30f678a6f" providerId="ADAL" clId="{53F94D17-4E26-4594-ACF2-E90F79B91FFF}" dt="2026-02-08T19:53:12.024" v="541" actId="1076"/>
          <ac:picMkLst>
            <pc:docMk/>
            <pc:sldMk cId="42882099" sldId="1433"/>
            <ac:picMk id="2" creationId="{013B7B00-2B22-F47D-CF96-472FEA074165}"/>
          </ac:picMkLst>
        </pc:picChg>
        <pc:picChg chg="add mod">
          <ac:chgData name="Wolfram Gießler" userId="d710c83e-c2b2-46fa-8643-6cc30f678a6f" providerId="ADAL" clId="{53F94D17-4E26-4594-ACF2-E90F79B91FFF}" dt="2026-02-08T19:53:06.715" v="539" actId="1076"/>
          <ac:picMkLst>
            <pc:docMk/>
            <pc:sldMk cId="42882099" sldId="1433"/>
            <ac:picMk id="3" creationId="{18821018-C823-E3C5-4353-51AC37FFEA74}"/>
          </ac:picMkLst>
        </pc:picChg>
        <pc:picChg chg="add mod">
          <ac:chgData name="Wolfram Gießler" userId="d710c83e-c2b2-46fa-8643-6cc30f678a6f" providerId="ADAL" clId="{53F94D17-4E26-4594-ACF2-E90F79B91FFF}" dt="2026-02-08T19:53:09.273" v="540" actId="1076"/>
          <ac:picMkLst>
            <pc:docMk/>
            <pc:sldMk cId="42882099" sldId="1433"/>
            <ac:picMk id="5" creationId="{F454ED3E-9B97-4F6A-D8C9-E295B088E699}"/>
          </ac:picMkLst>
        </pc:picChg>
        <pc:picChg chg="add mod">
          <ac:chgData name="Wolfram Gießler" userId="d710c83e-c2b2-46fa-8643-6cc30f678a6f" providerId="ADAL" clId="{53F94D17-4E26-4594-ACF2-E90F79B91FFF}" dt="2026-02-08T19:53:05.241" v="538" actId="1076"/>
          <ac:picMkLst>
            <pc:docMk/>
            <pc:sldMk cId="42882099" sldId="1433"/>
            <ac:picMk id="6" creationId="{3766C801-E548-AA42-7354-E07084C472FD}"/>
          </ac:picMkLst>
        </pc:picChg>
      </pc:sldChg>
      <pc:sldChg chg="modSp mod">
        <pc:chgData name="Wolfram Gießler" userId="d710c83e-c2b2-46fa-8643-6cc30f678a6f" providerId="ADAL" clId="{53F94D17-4E26-4594-ACF2-E90F79B91FFF}" dt="2026-02-10T17:43:25.420" v="1047" actId="20577"/>
        <pc:sldMkLst>
          <pc:docMk/>
          <pc:sldMk cId="2484677369" sldId="1439"/>
        </pc:sldMkLst>
        <pc:spChg chg="mod">
          <ac:chgData name="Wolfram Gießler" userId="d710c83e-c2b2-46fa-8643-6cc30f678a6f" providerId="ADAL" clId="{53F94D17-4E26-4594-ACF2-E90F79B91FFF}" dt="2026-02-10T17:43:25.420" v="1047" actId="20577"/>
          <ac:spMkLst>
            <pc:docMk/>
            <pc:sldMk cId="2484677369" sldId="1439"/>
            <ac:spMk id="2" creationId="{0D8593CC-14AA-BC4E-C93C-01EAEF9B9673}"/>
          </ac:spMkLst>
        </pc:spChg>
      </pc:sldChg>
    </pc:docChg>
  </pc:docChgLst>
  <pc:docChgLst>
    <pc:chgData name="Nadine Nothstein" userId="774946a1-8f19-4fca-9b88-923624aae527" providerId="ADAL" clId="{226D2784-EAE5-4488-B3C2-E4373C2E9CEF}"/>
    <pc:docChg chg="undo custSel addSld delSld modSld">
      <pc:chgData name="Nadine Nothstein" userId="774946a1-8f19-4fca-9b88-923624aae527" providerId="ADAL" clId="{226D2784-EAE5-4488-B3C2-E4373C2E9CEF}" dt="2026-02-10T14:38:26.573" v="876" actId="47"/>
      <pc:docMkLst>
        <pc:docMk/>
      </pc:docMkLst>
      <pc:sldChg chg="modSp mod">
        <pc:chgData name="Nadine Nothstein" userId="774946a1-8f19-4fca-9b88-923624aae527" providerId="ADAL" clId="{226D2784-EAE5-4488-B3C2-E4373C2E9CEF}" dt="2026-02-10T13:13:13.552" v="382" actId="20577"/>
        <pc:sldMkLst>
          <pc:docMk/>
          <pc:sldMk cId="3616957868" sldId="260"/>
        </pc:sldMkLst>
        <pc:spChg chg="mod">
          <ac:chgData name="Nadine Nothstein" userId="774946a1-8f19-4fca-9b88-923624aae527" providerId="ADAL" clId="{226D2784-EAE5-4488-B3C2-E4373C2E9CEF}" dt="2026-02-10T13:13:13.552" v="382" actId="20577"/>
          <ac:spMkLst>
            <pc:docMk/>
            <pc:sldMk cId="3616957868" sldId="260"/>
            <ac:spMk id="9" creationId="{F4CF1F9C-8742-EF21-A567-A419DB0614E1}"/>
          </ac:spMkLst>
        </pc:spChg>
      </pc:sldChg>
      <pc:sldChg chg="modSp mod">
        <pc:chgData name="Nadine Nothstein" userId="774946a1-8f19-4fca-9b88-923624aae527" providerId="ADAL" clId="{226D2784-EAE5-4488-B3C2-E4373C2E9CEF}" dt="2026-02-10T14:27:47.674" v="638" actId="1076"/>
        <pc:sldMkLst>
          <pc:docMk/>
          <pc:sldMk cId="2660452198" sldId="1333"/>
        </pc:sldMkLst>
        <pc:spChg chg="mod">
          <ac:chgData name="Nadine Nothstein" userId="774946a1-8f19-4fca-9b88-923624aae527" providerId="ADAL" clId="{226D2784-EAE5-4488-B3C2-E4373C2E9CEF}" dt="2026-02-10T13:23:31.014" v="590" actId="20577"/>
          <ac:spMkLst>
            <pc:docMk/>
            <pc:sldMk cId="2660452198" sldId="1333"/>
            <ac:spMk id="7" creationId="{CC75E2A0-352B-28F7-6F5D-04E3FC2EE3DD}"/>
          </ac:spMkLst>
        </pc:spChg>
        <pc:picChg chg="mod">
          <ac:chgData name="Nadine Nothstein" userId="774946a1-8f19-4fca-9b88-923624aae527" providerId="ADAL" clId="{226D2784-EAE5-4488-B3C2-E4373C2E9CEF}" dt="2026-02-10T14:27:47.674" v="638" actId="1076"/>
          <ac:picMkLst>
            <pc:docMk/>
            <pc:sldMk cId="2660452198" sldId="1333"/>
            <ac:picMk id="3" creationId="{7FF46F3F-899D-7190-D710-3FC7732FDF86}"/>
          </ac:picMkLst>
        </pc:picChg>
      </pc:sldChg>
      <pc:sldChg chg="addSp modSp mod modAnim modNotesTx">
        <pc:chgData name="Nadine Nothstein" userId="774946a1-8f19-4fca-9b88-923624aae527" providerId="ADAL" clId="{226D2784-EAE5-4488-B3C2-E4373C2E9CEF}" dt="2026-02-10T11:58:07.591" v="367" actId="20577"/>
        <pc:sldMkLst>
          <pc:docMk/>
          <pc:sldMk cId="3920522796" sldId="1363"/>
        </pc:sldMkLst>
        <pc:spChg chg="add mod">
          <ac:chgData name="Nadine Nothstein" userId="774946a1-8f19-4fca-9b88-923624aae527" providerId="ADAL" clId="{226D2784-EAE5-4488-B3C2-E4373C2E9CEF}" dt="2026-02-10T11:49:47.855" v="188" actId="14100"/>
          <ac:spMkLst>
            <pc:docMk/>
            <pc:sldMk cId="3920522796" sldId="1363"/>
            <ac:spMk id="3" creationId="{5A9CA5F6-470F-92C5-1BB5-E602BCEC455A}"/>
          </ac:spMkLst>
        </pc:spChg>
        <pc:spChg chg="mod">
          <ac:chgData name="Nadine Nothstein" userId="774946a1-8f19-4fca-9b88-923624aae527" providerId="ADAL" clId="{226D2784-EAE5-4488-B3C2-E4373C2E9CEF}" dt="2026-02-10T11:55:37.383" v="272" actId="1076"/>
          <ac:spMkLst>
            <pc:docMk/>
            <pc:sldMk cId="3920522796" sldId="1363"/>
            <ac:spMk id="7" creationId="{7AFA7867-E202-ECFE-EC5D-8D65EB7E591F}"/>
          </ac:spMkLst>
        </pc:spChg>
        <pc:spChg chg="mod">
          <ac:chgData name="Nadine Nothstein" userId="774946a1-8f19-4fca-9b88-923624aae527" providerId="ADAL" clId="{226D2784-EAE5-4488-B3C2-E4373C2E9CEF}" dt="2026-02-10T11:58:07.591" v="367" actId="20577"/>
          <ac:spMkLst>
            <pc:docMk/>
            <pc:sldMk cId="3920522796" sldId="1363"/>
            <ac:spMk id="16" creationId="{F0240D14-1F75-456D-B74F-2E7444141EDF}"/>
          </ac:spMkLst>
        </pc:spChg>
      </pc:sldChg>
      <pc:sldChg chg="delSp mod">
        <pc:chgData name="Nadine Nothstein" userId="774946a1-8f19-4fca-9b88-923624aae527" providerId="ADAL" clId="{226D2784-EAE5-4488-B3C2-E4373C2E9CEF}" dt="2026-02-10T11:45:53.889" v="139" actId="478"/>
        <pc:sldMkLst>
          <pc:docMk/>
          <pc:sldMk cId="1573195901" sldId="1376"/>
        </pc:sldMkLst>
        <pc:spChg chg="del">
          <ac:chgData name="Nadine Nothstein" userId="774946a1-8f19-4fca-9b88-923624aae527" providerId="ADAL" clId="{226D2784-EAE5-4488-B3C2-E4373C2E9CEF}" dt="2026-02-10T11:45:53.889" v="139" actId="478"/>
          <ac:spMkLst>
            <pc:docMk/>
            <pc:sldMk cId="1573195901" sldId="1376"/>
            <ac:spMk id="2" creationId="{49F22EBE-09D1-31EB-CE35-8E632918A8B9}"/>
          </ac:spMkLst>
        </pc:spChg>
      </pc:sldChg>
      <pc:sldChg chg="modSp mod">
        <pc:chgData name="Nadine Nothstein" userId="774946a1-8f19-4fca-9b88-923624aae527" providerId="ADAL" clId="{226D2784-EAE5-4488-B3C2-E4373C2E9CEF}" dt="2026-02-10T11:59:22.669" v="370" actId="948"/>
        <pc:sldMkLst>
          <pc:docMk/>
          <pc:sldMk cId="2664006388" sldId="1382"/>
        </pc:sldMkLst>
        <pc:spChg chg="mod">
          <ac:chgData name="Nadine Nothstein" userId="774946a1-8f19-4fca-9b88-923624aae527" providerId="ADAL" clId="{226D2784-EAE5-4488-B3C2-E4373C2E9CEF}" dt="2026-02-10T11:59:22.669" v="370" actId="948"/>
          <ac:spMkLst>
            <pc:docMk/>
            <pc:sldMk cId="2664006388" sldId="1382"/>
            <ac:spMk id="3" creationId="{35A22C4D-EAC2-90C1-5620-6ADDD4FB8F15}"/>
          </ac:spMkLst>
        </pc:spChg>
      </pc:sldChg>
      <pc:sldChg chg="modSp mod">
        <pc:chgData name="Nadine Nothstein" userId="774946a1-8f19-4fca-9b88-923624aae527" providerId="ADAL" clId="{226D2784-EAE5-4488-B3C2-E4373C2E9CEF}" dt="2026-02-10T14:30:29.094" v="639" actId="14100"/>
        <pc:sldMkLst>
          <pc:docMk/>
          <pc:sldMk cId="2374355440" sldId="1423"/>
        </pc:sldMkLst>
        <pc:spChg chg="mod">
          <ac:chgData name="Nadine Nothstein" userId="774946a1-8f19-4fca-9b88-923624aae527" providerId="ADAL" clId="{226D2784-EAE5-4488-B3C2-E4373C2E9CEF}" dt="2026-02-10T14:30:29.094" v="639" actId="14100"/>
          <ac:spMkLst>
            <pc:docMk/>
            <pc:sldMk cId="2374355440" sldId="1423"/>
            <ac:spMk id="2" creationId="{13BC0109-EC7C-27EB-F363-FD2D54EE2D15}"/>
          </ac:spMkLst>
        </pc:spChg>
        <pc:spChg chg="mod">
          <ac:chgData name="Nadine Nothstein" userId="774946a1-8f19-4fca-9b88-923624aae527" providerId="ADAL" clId="{226D2784-EAE5-4488-B3C2-E4373C2E9CEF}" dt="2026-02-10T11:59:46.953" v="372" actId="255"/>
          <ac:spMkLst>
            <pc:docMk/>
            <pc:sldMk cId="2374355440" sldId="1423"/>
            <ac:spMk id="3" creationId="{3AC25A96-2F64-2699-B2EA-8163C9F74621}"/>
          </ac:spMkLst>
        </pc:spChg>
        <pc:picChg chg="mod">
          <ac:chgData name="Nadine Nothstein" userId="774946a1-8f19-4fca-9b88-923624aae527" providerId="ADAL" clId="{226D2784-EAE5-4488-B3C2-E4373C2E9CEF}" dt="2026-02-10T12:00:26.487" v="379" actId="1076"/>
          <ac:picMkLst>
            <pc:docMk/>
            <pc:sldMk cId="2374355440" sldId="1423"/>
            <ac:picMk id="4" creationId="{A2C018A6-EBA6-0D33-BA20-F81766D47247}"/>
          </ac:picMkLst>
        </pc:picChg>
      </pc:sldChg>
      <pc:sldChg chg="del modNotesTx">
        <pc:chgData name="Nadine Nothstein" userId="774946a1-8f19-4fca-9b88-923624aae527" providerId="ADAL" clId="{226D2784-EAE5-4488-B3C2-E4373C2E9CEF}" dt="2026-02-10T13:14:44.833" v="383" actId="47"/>
        <pc:sldMkLst>
          <pc:docMk/>
          <pc:sldMk cId="3671217131" sldId="1424"/>
        </pc:sldMkLst>
      </pc:sldChg>
      <pc:sldChg chg="modSp mod">
        <pc:chgData name="Nadine Nothstein" userId="774946a1-8f19-4fca-9b88-923624aae527" providerId="ADAL" clId="{226D2784-EAE5-4488-B3C2-E4373C2E9CEF}" dt="2026-02-10T13:24:42.265" v="593" actId="20577"/>
        <pc:sldMkLst>
          <pc:docMk/>
          <pc:sldMk cId="1388570749" sldId="1425"/>
        </pc:sldMkLst>
        <pc:spChg chg="mod">
          <ac:chgData name="Nadine Nothstein" userId="774946a1-8f19-4fca-9b88-923624aae527" providerId="ADAL" clId="{226D2784-EAE5-4488-B3C2-E4373C2E9CEF}" dt="2026-02-10T13:24:42.265" v="593" actId="20577"/>
          <ac:spMkLst>
            <pc:docMk/>
            <pc:sldMk cId="1388570749" sldId="1425"/>
            <ac:spMk id="3" creationId="{8395CFA9-0FD6-6485-D362-F163DF0AB071}"/>
          </ac:spMkLst>
        </pc:spChg>
      </pc:sldChg>
      <pc:sldChg chg="modSp mod modNotesTx">
        <pc:chgData name="Nadine Nothstein" userId="774946a1-8f19-4fca-9b88-923624aae527" providerId="ADAL" clId="{226D2784-EAE5-4488-B3C2-E4373C2E9CEF}" dt="2026-02-10T11:48:35.532" v="163" actId="1076"/>
        <pc:sldMkLst>
          <pc:docMk/>
          <pc:sldMk cId="3612306382" sldId="1426"/>
        </pc:sldMkLst>
        <pc:spChg chg="mod">
          <ac:chgData name="Nadine Nothstein" userId="774946a1-8f19-4fca-9b88-923624aae527" providerId="ADAL" clId="{226D2784-EAE5-4488-B3C2-E4373C2E9CEF}" dt="2026-02-10T11:48:35.532" v="163" actId="1076"/>
          <ac:spMkLst>
            <pc:docMk/>
            <pc:sldMk cId="3612306382" sldId="1426"/>
            <ac:spMk id="12" creationId="{32BA6398-CA9D-1442-2921-A5EA1641716B}"/>
          </ac:spMkLst>
        </pc:spChg>
      </pc:sldChg>
      <pc:sldChg chg="addSp delSp modSp del mod delAnim">
        <pc:chgData name="Nadine Nothstein" userId="774946a1-8f19-4fca-9b88-923624aae527" providerId="ADAL" clId="{226D2784-EAE5-4488-B3C2-E4373C2E9CEF}" dt="2026-02-10T11:45:19.308" v="137" actId="47"/>
        <pc:sldMkLst>
          <pc:docMk/>
          <pc:sldMk cId="3726156149" sldId="1430"/>
        </pc:sldMkLst>
        <pc:spChg chg="del">
          <ac:chgData name="Nadine Nothstein" userId="774946a1-8f19-4fca-9b88-923624aae527" providerId="ADAL" clId="{226D2784-EAE5-4488-B3C2-E4373C2E9CEF}" dt="2026-02-10T11:43:56.776" v="111" actId="478"/>
          <ac:spMkLst>
            <pc:docMk/>
            <pc:sldMk cId="3726156149" sldId="1430"/>
            <ac:spMk id="6" creationId="{73F927AC-6D78-CF55-65B3-207AB26BF446}"/>
          </ac:spMkLst>
        </pc:spChg>
        <pc:spChg chg="add del mod">
          <ac:chgData name="Nadine Nothstein" userId="774946a1-8f19-4fca-9b88-923624aae527" providerId="ADAL" clId="{226D2784-EAE5-4488-B3C2-E4373C2E9CEF}" dt="2026-02-10T11:43:58.526" v="112" actId="478"/>
          <ac:spMkLst>
            <pc:docMk/>
            <pc:sldMk cId="3726156149" sldId="1430"/>
            <ac:spMk id="7" creationId="{6061F712-A56E-8269-13FB-2B4FD4328F91}"/>
          </ac:spMkLst>
        </pc:spChg>
        <pc:spChg chg="mod">
          <ac:chgData name="Nadine Nothstein" userId="774946a1-8f19-4fca-9b88-923624aae527" providerId="ADAL" clId="{226D2784-EAE5-4488-B3C2-E4373C2E9CEF}" dt="2026-02-10T11:45:17.794" v="136" actId="20577"/>
          <ac:spMkLst>
            <pc:docMk/>
            <pc:sldMk cId="3726156149" sldId="1430"/>
            <ac:spMk id="13" creationId="{C7CB60D3-ABFC-599C-19E1-EA819A764A90}"/>
          </ac:spMkLst>
        </pc:spChg>
      </pc:sldChg>
      <pc:sldChg chg="addSp delSp mod">
        <pc:chgData name="Nadine Nothstein" userId="774946a1-8f19-4fca-9b88-923624aae527" providerId="ADAL" clId="{226D2784-EAE5-4488-B3C2-E4373C2E9CEF}" dt="2026-02-10T13:17:43.823" v="385" actId="22"/>
        <pc:sldMkLst>
          <pc:docMk/>
          <pc:sldMk cId="3704151958" sldId="1431"/>
        </pc:sldMkLst>
        <pc:spChg chg="add del">
          <ac:chgData name="Nadine Nothstein" userId="774946a1-8f19-4fca-9b88-923624aae527" providerId="ADAL" clId="{226D2784-EAE5-4488-B3C2-E4373C2E9CEF}" dt="2026-02-10T13:17:43.823" v="385" actId="22"/>
          <ac:spMkLst>
            <pc:docMk/>
            <pc:sldMk cId="3704151958" sldId="1431"/>
            <ac:spMk id="4" creationId="{D2430B23-4F83-F2DF-1E16-F46982247D13}"/>
          </ac:spMkLst>
        </pc:spChg>
      </pc:sldChg>
      <pc:sldChg chg="addSp modSp new mod">
        <pc:chgData name="Nadine Nothstein" userId="774946a1-8f19-4fca-9b88-923624aae527" providerId="ADAL" clId="{226D2784-EAE5-4488-B3C2-E4373C2E9CEF}" dt="2026-02-10T14:35:37.358" v="786" actId="20577"/>
        <pc:sldMkLst>
          <pc:docMk/>
          <pc:sldMk cId="2442117002" sldId="1434"/>
        </pc:sldMkLst>
        <pc:spChg chg="mod">
          <ac:chgData name="Nadine Nothstein" userId="774946a1-8f19-4fca-9b88-923624aae527" providerId="ADAL" clId="{226D2784-EAE5-4488-B3C2-E4373C2E9CEF}" dt="2026-02-10T14:33:54.556" v="770" actId="20577"/>
          <ac:spMkLst>
            <pc:docMk/>
            <pc:sldMk cId="2442117002" sldId="1434"/>
            <ac:spMk id="2" creationId="{E2396F8D-77A0-F4D0-B481-CE6C6A193150}"/>
          </ac:spMkLst>
        </pc:spChg>
        <pc:spChg chg="mod">
          <ac:chgData name="Nadine Nothstein" userId="774946a1-8f19-4fca-9b88-923624aae527" providerId="ADAL" clId="{226D2784-EAE5-4488-B3C2-E4373C2E9CEF}" dt="2026-02-10T14:35:37.358" v="786" actId="20577"/>
          <ac:spMkLst>
            <pc:docMk/>
            <pc:sldMk cId="2442117002" sldId="1434"/>
            <ac:spMk id="3" creationId="{B38F73FC-D1A2-7E0D-6304-2E01115D4348}"/>
          </ac:spMkLst>
        </pc:spChg>
        <pc:picChg chg="add mod">
          <ac:chgData name="Nadine Nothstein" userId="774946a1-8f19-4fca-9b88-923624aae527" providerId="ADAL" clId="{226D2784-EAE5-4488-B3C2-E4373C2E9CEF}" dt="2026-02-10T14:27:15.599" v="634"/>
          <ac:picMkLst>
            <pc:docMk/>
            <pc:sldMk cId="2442117002" sldId="1434"/>
            <ac:picMk id="4" creationId="{FD5D973F-BD35-52E5-5407-38B020F50EAB}"/>
          </ac:picMkLst>
        </pc:picChg>
      </pc:sldChg>
      <pc:sldChg chg="addSp modSp add del mod">
        <pc:chgData name="Nadine Nothstein" userId="774946a1-8f19-4fca-9b88-923624aae527" providerId="ADAL" clId="{226D2784-EAE5-4488-B3C2-E4373C2E9CEF}" dt="2026-02-10T14:37:17.185" v="821" actId="47"/>
        <pc:sldMkLst>
          <pc:docMk/>
          <pc:sldMk cId="3539018089" sldId="1435"/>
        </pc:sldMkLst>
        <pc:spChg chg="mod">
          <ac:chgData name="Nadine Nothstein" userId="774946a1-8f19-4fca-9b88-923624aae527" providerId="ADAL" clId="{226D2784-EAE5-4488-B3C2-E4373C2E9CEF}" dt="2026-02-10T13:20:57.836" v="576" actId="20577"/>
          <ac:spMkLst>
            <pc:docMk/>
            <pc:sldMk cId="3539018089" sldId="1435"/>
            <ac:spMk id="3" creationId="{04134A42-A603-511A-BB2C-5FCDB02AFCA2}"/>
          </ac:spMkLst>
        </pc:spChg>
        <pc:picChg chg="add mod">
          <ac:chgData name="Nadine Nothstein" userId="774946a1-8f19-4fca-9b88-923624aae527" providerId="ADAL" clId="{226D2784-EAE5-4488-B3C2-E4373C2E9CEF}" dt="2026-02-10T14:27:22.390" v="635"/>
          <ac:picMkLst>
            <pc:docMk/>
            <pc:sldMk cId="3539018089" sldId="1435"/>
            <ac:picMk id="4" creationId="{225F9113-3D50-B204-AA39-0F627F7D403E}"/>
          </ac:picMkLst>
        </pc:picChg>
      </pc:sldChg>
      <pc:sldChg chg="addSp modSp add del">
        <pc:chgData name="Nadine Nothstein" userId="774946a1-8f19-4fca-9b88-923624aae527" providerId="ADAL" clId="{226D2784-EAE5-4488-B3C2-E4373C2E9CEF}" dt="2026-02-10T14:37:31.201" v="823" actId="47"/>
        <pc:sldMkLst>
          <pc:docMk/>
          <pc:sldMk cId="2674466944" sldId="1436"/>
        </pc:sldMkLst>
        <pc:picChg chg="add mod">
          <ac:chgData name="Nadine Nothstein" userId="774946a1-8f19-4fca-9b88-923624aae527" providerId="ADAL" clId="{226D2784-EAE5-4488-B3C2-E4373C2E9CEF}" dt="2026-02-10T14:27:25.099" v="636"/>
          <ac:picMkLst>
            <pc:docMk/>
            <pc:sldMk cId="2674466944" sldId="1436"/>
            <ac:picMk id="4" creationId="{4A1537FA-4F33-48DF-7111-024C2C3433A3}"/>
          </ac:picMkLst>
        </pc:picChg>
      </pc:sldChg>
      <pc:sldChg chg="addSp modSp add del">
        <pc:chgData name="Nadine Nothstein" userId="774946a1-8f19-4fca-9b88-923624aae527" providerId="ADAL" clId="{226D2784-EAE5-4488-B3C2-E4373C2E9CEF}" dt="2026-02-10T14:38:26.573" v="876" actId="47"/>
        <pc:sldMkLst>
          <pc:docMk/>
          <pc:sldMk cId="3166065718" sldId="1437"/>
        </pc:sldMkLst>
        <pc:picChg chg="add mod">
          <ac:chgData name="Nadine Nothstein" userId="774946a1-8f19-4fca-9b88-923624aae527" providerId="ADAL" clId="{226D2784-EAE5-4488-B3C2-E4373C2E9CEF}" dt="2026-02-10T14:27:32.939" v="637"/>
          <ac:picMkLst>
            <pc:docMk/>
            <pc:sldMk cId="3166065718" sldId="1437"/>
            <ac:picMk id="4" creationId="{EE8347DF-105F-C210-7295-1F661487B74B}"/>
          </ac:picMkLst>
        </pc:picChg>
      </pc:sldChg>
      <pc:sldChg chg="modSp add mod">
        <pc:chgData name="Nadine Nothstein" userId="774946a1-8f19-4fca-9b88-923624aae527" providerId="ADAL" clId="{226D2784-EAE5-4488-B3C2-E4373C2E9CEF}" dt="2026-02-10T14:37:06.220" v="820" actId="20577"/>
        <pc:sldMkLst>
          <pc:docMk/>
          <pc:sldMk cId="2949563149" sldId="1438"/>
        </pc:sldMkLst>
        <pc:spChg chg="mod">
          <ac:chgData name="Nadine Nothstein" userId="774946a1-8f19-4fca-9b88-923624aae527" providerId="ADAL" clId="{226D2784-EAE5-4488-B3C2-E4373C2E9CEF}" dt="2026-02-10T14:36:03.431" v="808" actId="20577"/>
          <ac:spMkLst>
            <pc:docMk/>
            <pc:sldMk cId="2949563149" sldId="1438"/>
            <ac:spMk id="2" creationId="{27D3464F-9800-D894-877D-32BA16438423}"/>
          </ac:spMkLst>
        </pc:spChg>
        <pc:spChg chg="mod">
          <ac:chgData name="Nadine Nothstein" userId="774946a1-8f19-4fca-9b88-923624aae527" providerId="ADAL" clId="{226D2784-EAE5-4488-B3C2-E4373C2E9CEF}" dt="2026-02-10T14:37:06.220" v="820" actId="20577"/>
          <ac:spMkLst>
            <pc:docMk/>
            <pc:sldMk cId="2949563149" sldId="1438"/>
            <ac:spMk id="3" creationId="{B988442A-F5BF-D55B-3C39-D0BAF91FA0B4}"/>
          </ac:spMkLst>
        </pc:spChg>
      </pc:sldChg>
      <pc:sldChg chg="modSp add mod">
        <pc:chgData name="Nadine Nothstein" userId="774946a1-8f19-4fca-9b88-923624aae527" providerId="ADAL" clId="{226D2784-EAE5-4488-B3C2-E4373C2E9CEF}" dt="2026-02-10T14:38:00.413" v="873" actId="20577"/>
        <pc:sldMkLst>
          <pc:docMk/>
          <pc:sldMk cId="2484677369" sldId="1439"/>
        </pc:sldMkLst>
        <pc:spChg chg="mod">
          <ac:chgData name="Nadine Nothstein" userId="774946a1-8f19-4fca-9b88-923624aae527" providerId="ADAL" clId="{226D2784-EAE5-4488-B3C2-E4373C2E9CEF}" dt="2026-02-10T14:38:00.413" v="873" actId="20577"/>
          <ac:spMkLst>
            <pc:docMk/>
            <pc:sldMk cId="2484677369" sldId="1439"/>
            <ac:spMk id="2" creationId="{0D8593CC-14AA-BC4E-C93C-01EAEF9B9673}"/>
          </ac:spMkLst>
        </pc:spChg>
      </pc:sldChg>
      <pc:sldChg chg="add del">
        <pc:chgData name="Nadine Nothstein" userId="774946a1-8f19-4fca-9b88-923624aae527" providerId="ADAL" clId="{226D2784-EAE5-4488-B3C2-E4373C2E9CEF}" dt="2026-02-10T14:33:34.692" v="764"/>
        <pc:sldMkLst>
          <pc:docMk/>
          <pc:sldMk cId="3501097368" sldId="1439"/>
        </pc:sldMkLst>
      </pc:sldChg>
      <pc:sldChg chg="modSp add">
        <pc:chgData name="Nadine Nothstein" userId="774946a1-8f19-4fca-9b88-923624aae527" providerId="ADAL" clId="{226D2784-EAE5-4488-B3C2-E4373C2E9CEF}" dt="2026-02-10T14:38:19.149" v="875"/>
        <pc:sldMkLst>
          <pc:docMk/>
          <pc:sldMk cId="2717027475" sldId="1440"/>
        </pc:sldMkLst>
        <pc:spChg chg="mod">
          <ac:chgData name="Nadine Nothstein" userId="774946a1-8f19-4fca-9b88-923624aae527" providerId="ADAL" clId="{226D2784-EAE5-4488-B3C2-E4373C2E9CEF}" dt="2026-02-10T14:38:19.149" v="875"/>
          <ac:spMkLst>
            <pc:docMk/>
            <pc:sldMk cId="2717027475" sldId="1440"/>
            <ac:spMk id="2" creationId="{FC1C8AD6-CBE9-422A-DE79-9CF240F01B26}"/>
          </ac:spMkLst>
        </pc:spChg>
      </pc:sldChg>
    </pc:docChg>
  </pc:docChgLst>
  <pc:docChgLst>
    <pc:chgData name="Wolfram Gießler" userId="S::wolfram.giessler@ph-freiburg.de::d710c83e-c2b2-46fa-8643-6cc30f678a6f" providerId="AD" clId="Web-{EDD018CE-0F49-E8E6-2370-C1C0D0483F5F}"/>
    <pc:docChg chg="delSld modSld">
      <pc:chgData name="Wolfram Gießler" userId="S::wolfram.giessler@ph-freiburg.de::d710c83e-c2b2-46fa-8643-6cc30f678a6f" providerId="AD" clId="Web-{EDD018CE-0F49-E8E6-2370-C1C0D0483F5F}" dt="2026-02-09T16:00:37.345" v="233" actId="20577"/>
      <pc:docMkLst>
        <pc:docMk/>
      </pc:docMkLst>
      <pc:sldChg chg="modSp">
        <pc:chgData name="Wolfram Gießler" userId="S::wolfram.giessler@ph-freiburg.de::d710c83e-c2b2-46fa-8643-6cc30f678a6f" providerId="AD" clId="Web-{EDD018CE-0F49-E8E6-2370-C1C0D0483F5F}" dt="2026-02-09T16:00:18.392" v="232" actId="20577"/>
        <pc:sldMkLst>
          <pc:docMk/>
          <pc:sldMk cId="2664006388" sldId="1382"/>
        </pc:sldMkLst>
        <pc:spChg chg="mod">
          <ac:chgData name="Wolfram Gießler" userId="S::wolfram.giessler@ph-freiburg.de::d710c83e-c2b2-46fa-8643-6cc30f678a6f" providerId="AD" clId="Web-{EDD018CE-0F49-E8E6-2370-C1C0D0483F5F}" dt="2026-02-09T16:00:18.392" v="232" actId="20577"/>
          <ac:spMkLst>
            <pc:docMk/>
            <pc:sldMk cId="2664006388" sldId="1382"/>
            <ac:spMk id="2" creationId="{3084D0A8-3A46-2A16-F18E-C98BF5FA236E}"/>
          </ac:spMkLst>
        </pc:spChg>
        <pc:spChg chg="mod">
          <ac:chgData name="Wolfram Gießler" userId="S::wolfram.giessler@ph-freiburg.de::d710c83e-c2b2-46fa-8643-6cc30f678a6f" providerId="AD" clId="Web-{EDD018CE-0F49-E8E6-2370-C1C0D0483F5F}" dt="2026-02-09T15:59:51.438" v="202" actId="20577"/>
          <ac:spMkLst>
            <pc:docMk/>
            <pc:sldMk cId="2664006388" sldId="1382"/>
            <ac:spMk id="3" creationId="{35A22C4D-EAC2-90C1-5620-6ADDD4FB8F15}"/>
          </ac:spMkLst>
        </pc:spChg>
      </pc:sldChg>
      <pc:sldChg chg="addSp modSp mod modClrScheme chgLayout">
        <pc:chgData name="Wolfram Gießler" userId="S::wolfram.giessler@ph-freiburg.de::d710c83e-c2b2-46fa-8643-6cc30f678a6f" providerId="AD" clId="Web-{EDD018CE-0F49-E8E6-2370-C1C0D0483F5F}" dt="2026-02-09T15:58:30.844" v="147" actId="1076"/>
        <pc:sldMkLst>
          <pc:docMk/>
          <pc:sldMk cId="2374355440" sldId="1423"/>
        </pc:sldMkLst>
        <pc:spChg chg="mod">
          <ac:chgData name="Wolfram Gießler" userId="S::wolfram.giessler@ph-freiburg.de::d710c83e-c2b2-46fa-8643-6cc30f678a6f" providerId="AD" clId="Web-{EDD018CE-0F49-E8E6-2370-C1C0D0483F5F}" dt="2026-02-09T15:58:25.110" v="146" actId="20577"/>
          <ac:spMkLst>
            <pc:docMk/>
            <pc:sldMk cId="2374355440" sldId="1423"/>
            <ac:spMk id="2" creationId="{13BC0109-EC7C-27EB-F363-FD2D54EE2D15}"/>
          </ac:spMkLst>
        </pc:spChg>
        <pc:spChg chg="mod">
          <ac:chgData name="Wolfram Gießler" userId="S::wolfram.giessler@ph-freiburg.de::d710c83e-c2b2-46fa-8643-6cc30f678a6f" providerId="AD" clId="Web-{EDD018CE-0F49-E8E6-2370-C1C0D0483F5F}" dt="2026-02-09T15:58:30.844" v="147" actId="1076"/>
          <ac:spMkLst>
            <pc:docMk/>
            <pc:sldMk cId="2374355440" sldId="1423"/>
            <ac:spMk id="3" creationId="{3AC25A96-2F64-2699-B2EA-8163C9F74621}"/>
          </ac:spMkLst>
        </pc:spChg>
        <pc:picChg chg="add mod">
          <ac:chgData name="Wolfram Gießler" userId="S::wolfram.giessler@ph-freiburg.de::d710c83e-c2b2-46fa-8643-6cc30f678a6f" providerId="AD" clId="Web-{EDD018CE-0F49-E8E6-2370-C1C0D0483F5F}" dt="2026-02-09T15:58:09.657" v="134"/>
          <ac:picMkLst>
            <pc:docMk/>
            <pc:sldMk cId="2374355440" sldId="1423"/>
            <ac:picMk id="4" creationId="{A2C018A6-EBA6-0D33-BA20-F81766D47247}"/>
          </ac:picMkLst>
        </pc:picChg>
      </pc:sldChg>
      <pc:sldChg chg="modSp">
        <pc:chgData name="Wolfram Gießler" userId="S::wolfram.giessler@ph-freiburg.de::d710c83e-c2b2-46fa-8643-6cc30f678a6f" providerId="AD" clId="Web-{EDD018CE-0F49-E8E6-2370-C1C0D0483F5F}" dt="2026-02-09T16:00:37.345" v="233" actId="20577"/>
        <pc:sldMkLst>
          <pc:docMk/>
          <pc:sldMk cId="1388570749" sldId="1425"/>
        </pc:sldMkLst>
        <pc:spChg chg="mod">
          <ac:chgData name="Wolfram Gießler" userId="S::wolfram.giessler@ph-freiburg.de::d710c83e-c2b2-46fa-8643-6cc30f678a6f" providerId="AD" clId="Web-{EDD018CE-0F49-E8E6-2370-C1C0D0483F5F}" dt="2026-02-09T15:59:39.563" v="197" actId="20577"/>
          <ac:spMkLst>
            <pc:docMk/>
            <pc:sldMk cId="1388570749" sldId="1425"/>
            <ac:spMk id="2" creationId="{D6514D6E-5AA1-06B2-AD02-924C3013C16C}"/>
          </ac:spMkLst>
        </pc:spChg>
        <pc:spChg chg="mod">
          <ac:chgData name="Wolfram Gießler" userId="S::wolfram.giessler@ph-freiburg.de::d710c83e-c2b2-46fa-8643-6cc30f678a6f" providerId="AD" clId="Web-{EDD018CE-0F49-E8E6-2370-C1C0D0483F5F}" dt="2026-02-09T16:00:37.345" v="233" actId="20577"/>
          <ac:spMkLst>
            <pc:docMk/>
            <pc:sldMk cId="1388570749" sldId="1425"/>
            <ac:spMk id="3" creationId="{8395CFA9-0FD6-6485-D362-F163DF0AB071}"/>
          </ac:spMkLst>
        </pc:spChg>
      </pc:sldChg>
    </pc:docChg>
  </pc:docChgLst>
  <pc:docChgLst>
    <pc:chgData name="Matthias Windeisen" userId="S::matthias.windeisen@ph-freiburg.de::60e6a624-b75f-4a94-a029-937a22150c7d" providerId="AD" clId="Web-{CB85D84C-1306-4B14-ED5A-C5506E9B75D2}"/>
    <pc:docChg chg="modSld">
      <pc:chgData name="Matthias Windeisen" userId="S::matthias.windeisen@ph-freiburg.de::60e6a624-b75f-4a94-a029-937a22150c7d" providerId="AD" clId="Web-{CB85D84C-1306-4B14-ED5A-C5506E9B75D2}" dt="2026-02-06T15:17:05.505" v="70" actId="20577"/>
      <pc:docMkLst>
        <pc:docMk/>
      </pc:docMkLst>
      <pc:sldChg chg="addSp delSp modSp">
        <pc:chgData name="Matthias Windeisen" userId="S::matthias.windeisen@ph-freiburg.de::60e6a624-b75f-4a94-a029-937a22150c7d" providerId="AD" clId="Web-{CB85D84C-1306-4B14-ED5A-C5506E9B75D2}" dt="2026-02-06T15:17:05.505" v="70" actId="20577"/>
        <pc:sldMkLst>
          <pc:docMk/>
          <pc:sldMk cId="3612306382" sldId="1426"/>
        </pc:sldMkLst>
      </pc:sldChg>
    </pc:docChg>
  </pc:docChgLst>
  <pc:docChgLst>
    <pc:chgData name="Matthias Windeisen" userId="S::matthias.windeisen@ph-freiburg.de::60e6a624-b75f-4a94-a029-937a22150c7d" providerId="AD" clId="Web-{02A3FD6D-5136-91B9-F4A4-314AE5CD24CE}"/>
    <pc:docChg chg="modSld">
      <pc:chgData name="Matthias Windeisen" userId="S::matthias.windeisen@ph-freiburg.de::60e6a624-b75f-4a94-a029-937a22150c7d" providerId="AD" clId="Web-{02A3FD6D-5136-91B9-F4A4-314AE5CD24CE}" dt="2026-02-10T08:29:01.435" v="716" actId="20577"/>
      <pc:docMkLst>
        <pc:docMk/>
      </pc:docMkLst>
      <pc:sldChg chg="addSp delSp modSp">
        <pc:chgData name="Matthias Windeisen" userId="S::matthias.windeisen@ph-freiburg.de::60e6a624-b75f-4a94-a029-937a22150c7d" providerId="AD" clId="Web-{02A3FD6D-5136-91B9-F4A4-314AE5CD24CE}" dt="2026-02-10T08:29:01.435" v="716" actId="20577"/>
        <pc:sldMkLst>
          <pc:docMk/>
          <pc:sldMk cId="3612306382" sldId="1426"/>
        </pc:sldMkLst>
        <pc:spChg chg="mod">
          <ac:chgData name="Matthias Windeisen" userId="S::matthias.windeisen@ph-freiburg.de::60e6a624-b75f-4a94-a029-937a22150c7d" providerId="AD" clId="Web-{02A3FD6D-5136-91B9-F4A4-314AE5CD24CE}" dt="2026-02-10T08:09:20.365" v="643" actId="20577"/>
          <ac:spMkLst>
            <pc:docMk/>
            <pc:sldMk cId="3612306382" sldId="1426"/>
            <ac:spMk id="2" creationId="{09DB6D17-B81D-437D-C9C7-06BACDDAB306}"/>
          </ac:spMkLst>
        </pc:spChg>
        <pc:spChg chg="del mod">
          <ac:chgData name="Matthias Windeisen" userId="S::matthias.windeisen@ph-freiburg.de::60e6a624-b75f-4a94-a029-937a22150c7d" providerId="AD" clId="Web-{02A3FD6D-5136-91B9-F4A4-314AE5CD24CE}" dt="2026-02-10T07:56:17.980" v="145"/>
          <ac:spMkLst>
            <pc:docMk/>
            <pc:sldMk cId="3612306382" sldId="1426"/>
            <ac:spMk id="4" creationId="{6E2B7D99-85B6-E83C-5512-F9B4B6C88AEE}"/>
          </ac:spMkLst>
        </pc:spChg>
        <pc:spChg chg="add del">
          <ac:chgData name="Matthias Windeisen" userId="S::matthias.windeisen@ph-freiburg.de::60e6a624-b75f-4a94-a029-937a22150c7d" providerId="AD" clId="Web-{02A3FD6D-5136-91B9-F4A4-314AE5CD24CE}" dt="2026-02-10T07:56:54.589" v="148"/>
          <ac:spMkLst>
            <pc:docMk/>
            <pc:sldMk cId="3612306382" sldId="1426"/>
            <ac:spMk id="6" creationId="{68A0C84B-BE3B-5747-4ABD-0B9E2B029709}"/>
          </ac:spMkLst>
        </pc:spChg>
        <pc:spChg chg="del">
          <ac:chgData name="Matthias Windeisen" userId="S::matthias.windeisen@ph-freiburg.de::60e6a624-b75f-4a94-a029-937a22150c7d" providerId="AD" clId="Web-{02A3FD6D-5136-91B9-F4A4-314AE5CD24CE}" dt="2026-02-10T07:55:42.902" v="139"/>
          <ac:spMkLst>
            <pc:docMk/>
            <pc:sldMk cId="3612306382" sldId="1426"/>
            <ac:spMk id="11" creationId="{8922A750-AF4C-C5FF-B503-22E1F5F70BA2}"/>
          </ac:spMkLst>
        </pc:spChg>
        <pc:spChg chg="add mod">
          <ac:chgData name="Matthias Windeisen" userId="S::matthias.windeisen@ph-freiburg.de::60e6a624-b75f-4a94-a029-937a22150c7d" providerId="AD" clId="Web-{02A3FD6D-5136-91B9-F4A4-314AE5CD24CE}" dt="2026-02-10T08:29:01.435" v="716" actId="20577"/>
          <ac:spMkLst>
            <pc:docMk/>
            <pc:sldMk cId="3612306382" sldId="1426"/>
            <ac:spMk id="12" creationId="{32BA6398-CA9D-1442-2921-A5EA1641716B}"/>
          </ac:spMkLst>
        </pc:spChg>
        <pc:graphicFrameChg chg="add mod modGraphic">
          <ac:chgData name="Matthias Windeisen" userId="S::matthias.windeisen@ph-freiburg.de::60e6a624-b75f-4a94-a029-937a22150c7d" providerId="AD" clId="Web-{02A3FD6D-5136-91B9-F4A4-314AE5CD24CE}" dt="2026-02-10T08:25:35.544" v="659"/>
          <ac:graphicFrameMkLst>
            <pc:docMk/>
            <pc:sldMk cId="3612306382" sldId="1426"/>
            <ac:graphicFrameMk id="3" creationId="{7BA5C46E-D654-5C06-934C-2084D3A65353}"/>
          </ac:graphicFrameMkLst>
        </pc:graphicFrameChg>
        <pc:picChg chg="del">
          <ac:chgData name="Matthias Windeisen" userId="S::matthias.windeisen@ph-freiburg.de::60e6a624-b75f-4a94-a029-937a22150c7d" providerId="AD" clId="Web-{02A3FD6D-5136-91B9-F4A4-314AE5CD24CE}" dt="2026-02-10T07:55:29.293" v="138"/>
          <ac:picMkLst>
            <pc:docMk/>
            <pc:sldMk cId="3612306382" sldId="1426"/>
            <ac:picMk id="5" creationId="{C0F839BC-9952-D0C3-B73F-200E623600F1}"/>
          </ac:picMkLst>
        </pc:picChg>
        <pc:picChg chg="add del mod">
          <ac:chgData name="Matthias Windeisen" userId="S::matthias.windeisen@ph-freiburg.de::60e6a624-b75f-4a94-a029-937a22150c7d" providerId="AD" clId="Web-{02A3FD6D-5136-91B9-F4A4-314AE5CD24CE}" dt="2026-02-10T07:57:14.589" v="150"/>
          <ac:picMkLst>
            <pc:docMk/>
            <pc:sldMk cId="3612306382" sldId="1426"/>
            <ac:picMk id="7" creationId="{C1F12D66-7076-3755-0767-66261F86EF49}"/>
          </ac:picMkLst>
        </pc:picChg>
        <pc:picChg chg="del mod">
          <ac:chgData name="Matthias Windeisen" userId="S::matthias.windeisen@ph-freiburg.de::60e6a624-b75f-4a94-a029-937a22150c7d" providerId="AD" clId="Web-{02A3FD6D-5136-91B9-F4A4-314AE5CD24CE}" dt="2026-02-10T07:55:16.575" v="137"/>
          <ac:picMkLst>
            <pc:docMk/>
            <pc:sldMk cId="3612306382" sldId="1426"/>
            <ac:picMk id="8" creationId="{EA984EB4-D2E1-A118-C517-C7C74656F8AB}"/>
          </ac:picMkLst>
        </pc:picChg>
        <pc:picChg chg="del mod">
          <ac:chgData name="Matthias Windeisen" userId="S::matthias.windeisen@ph-freiburg.de::60e6a624-b75f-4a94-a029-937a22150c7d" providerId="AD" clId="Web-{02A3FD6D-5136-91B9-F4A4-314AE5CD24CE}" dt="2026-02-10T07:54:47.872" v="136"/>
          <ac:picMkLst>
            <pc:docMk/>
            <pc:sldMk cId="3612306382" sldId="1426"/>
            <ac:picMk id="10" creationId="{2DB29A4C-B375-5E50-FFAC-6B284968C0AC}"/>
          </ac:picMkLst>
        </pc:picChg>
      </pc:sldChg>
    </pc:docChg>
  </pc:docChgLst>
  <pc:docChgLst>
    <pc:chgData name="Wolfram Giessler" userId="d9dfa0567b219582" providerId="LiveId" clId="{53F94D17-4E26-4594-ACF2-E90F79B91FFF}"/>
    <pc:docChg chg="addSld delSld modSld sldOrd">
      <pc:chgData name="Wolfram Giessler" userId="d9dfa0567b219582" providerId="LiveId" clId="{53F94D17-4E26-4594-ACF2-E90F79B91FFF}" dt="2026-02-06T15:01:05.205" v="65" actId="20577"/>
      <pc:docMkLst>
        <pc:docMk/>
      </pc:docMkLst>
      <pc:sldChg chg="ord">
        <pc:chgData name="Wolfram Giessler" userId="d9dfa0567b219582" providerId="LiveId" clId="{53F94D17-4E26-4594-ACF2-E90F79B91FFF}" dt="2026-02-06T14:41:36.999" v="17"/>
        <pc:sldMkLst>
          <pc:docMk/>
          <pc:sldMk cId="3612306382" sldId="1426"/>
        </pc:sldMkLst>
      </pc:sldChg>
    </pc:docChg>
  </pc:docChgLst>
  <pc:docChgLst>
    <pc:chgData name="Wolfram Gießler" userId="S::wolfram.giessler@ph-freiburg.de::d710c83e-c2b2-46fa-8643-6cc30f678a6f" providerId="AD" clId="Web-{51503FC0-84B2-8765-4B00-47940AEE61A5}"/>
    <pc:docChg chg="addSld delSld">
      <pc:chgData name="Wolfram Gießler" userId="S::wolfram.giessler@ph-freiburg.de::d710c83e-c2b2-46fa-8643-6cc30f678a6f" providerId="AD" clId="Web-{51503FC0-84B2-8765-4B00-47940AEE61A5}" dt="2026-02-08T18:51:06.721" v="1"/>
      <pc:docMkLst>
        <pc:docMk/>
      </pc:docMkLst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15046E-3709-42E8-8159-BA81C45E9037}" type="datetimeFigureOut">
              <a:rPr lang="de-DE" smtClean="0"/>
              <a:pPr/>
              <a:t>11.02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5C74F2-9147-44EE-B0D8-B4814D72F10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01260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fteilung Folien:</a:t>
            </a:r>
          </a:p>
          <a:p>
            <a:r>
              <a:rPr lang="de-DE" dirty="0"/>
              <a:t>1 – 4 Steffi</a:t>
            </a:r>
          </a:p>
          <a:p>
            <a:r>
              <a:rPr lang="de-DE" dirty="0"/>
              <a:t>5 – 7 Julia/Dominic</a:t>
            </a:r>
          </a:p>
          <a:p>
            <a:r>
              <a:rPr lang="de-DE" dirty="0"/>
              <a:t>8 – 10 Nadine</a:t>
            </a:r>
          </a:p>
          <a:p>
            <a:r>
              <a:rPr lang="de-DE" dirty="0"/>
              <a:t>11 – 13 Dominic</a:t>
            </a:r>
          </a:p>
          <a:p>
            <a:r>
              <a:rPr lang="de-DE" dirty="0"/>
              <a:t>14 Steffi</a:t>
            </a:r>
          </a:p>
          <a:p>
            <a:r>
              <a:rPr lang="de-DE" dirty="0"/>
              <a:t>15 – 19 Wolfram</a:t>
            </a:r>
          </a:p>
          <a:p>
            <a:r>
              <a:rPr lang="de-DE" dirty="0"/>
              <a:t>20 – 21 Steffi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74F2-9147-44EE-B0D8-B4814D72F10A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4340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74F2-9147-44EE-B0D8-B4814D72F10A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75733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26229B-EF4D-2A1C-6A60-3284FF7F1A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3CC91D8-E067-C254-B5DB-F94981E428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FE3D68C-5472-D882-AB5C-F80146A7AC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34034F4-05F7-2C4C-648D-7BA1E2F740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74F2-9147-44EE-B0D8-B4814D72F10A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89603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74F2-9147-44EE-B0D8-B4814D72F10A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37744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74F2-9147-44EE-B0D8-B4814D72F10A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2291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Ich habe den Balken „PE-Vision, Bedarfsanalysen“ per Animation verlängert, da dieser Meilenstein weiterhin fortläuft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74F2-9147-44EE-B0D8-B4814D72F10A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93596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5C74F2-9147-44EE-B0D8-B4814D72F10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38127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508C11-1B4F-0749-7366-5D60B172BC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3B69742-A85E-2BB0-C85F-1BD78F260C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6E5647F-6658-8827-47C3-ACA00B85AA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FB3F4B-B882-CCE5-A59C-8363C23A75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74F2-9147-44EE-B0D8-B4814D72F10A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61725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6989CF-EE7C-502E-7B9C-79CF08DD7A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B4F1563-FA64-3C43-E921-8DAE1954F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463437F-024D-4A9E-8D8E-497F2AFF06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809972-1B4C-5EFE-4F1F-27A8CBE075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5C74F2-9147-44EE-B0D8-B4814D72F10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81504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halte ergänzend zu den Teambedarfsanalysen, z.B. 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kern="100">
                <a:latin typeface="Arial"/>
                <a:ea typeface="Aptos" panose="020B0004020202020204" pitchFamily="34" charset="0"/>
                <a:cs typeface="Arial"/>
              </a:rPr>
              <a:t>Fallbezogene Klärung der Rolle und Verantwortung von Angehörigen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kern="100">
                <a:latin typeface="Arial"/>
                <a:ea typeface="Aptos" panose="020B0004020202020204" pitchFamily="34" charset="0"/>
                <a:cs typeface="Arial"/>
              </a:rPr>
              <a:t>Einsatz digitaler Lernpfade im Team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74F2-9147-44EE-B0D8-B4814D72F10A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64850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5C74F2-9147-44EE-B0D8-B4814D72F10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16671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74F2-9147-44EE-B0D8-B4814D72F10A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45669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5" Type="http://schemas.openxmlformats.org/officeDocument/2006/relationships/image" Target="../media/image13.jpeg"/><Relationship Id="rId4" Type="http://schemas.openxmlformats.org/officeDocument/2006/relationships/image" Target="../media/image1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rgbClr val="66E0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räne 10">
            <a:extLst>
              <a:ext uri="{FF2B5EF4-FFF2-40B4-BE49-F238E27FC236}">
                <a16:creationId xmlns:a16="http://schemas.microsoft.com/office/drawing/2014/main" id="{383C8A6C-8A94-30DF-9707-6ADF2ADD2075}"/>
              </a:ext>
            </a:extLst>
          </p:cNvPr>
          <p:cNvSpPr/>
          <p:nvPr userDrawn="1"/>
        </p:nvSpPr>
        <p:spPr>
          <a:xfrm rot="5400000">
            <a:off x="7032964" y="1550865"/>
            <a:ext cx="4429533" cy="4026848"/>
          </a:xfrm>
          <a:prstGeom prst="teardrop">
            <a:avLst/>
          </a:prstGeom>
          <a:solidFill>
            <a:srgbClr val="541AA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l" defTabSz="82153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7000" b="0" i="0" u="none" strike="noStrike" cap="all" spc="0" normalizeH="0" baseline="0">
              <a:ln>
                <a:noFill/>
              </a:ln>
              <a:solidFill>
                <a:srgbClr val="3A4044"/>
              </a:solidFill>
              <a:effectLst/>
              <a:uFillTx/>
              <a:latin typeface="+mn-lt"/>
              <a:ea typeface="+mn-ea"/>
              <a:cs typeface="+mn-cs"/>
              <a:sym typeface="Decima Round Bol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419" y="2394121"/>
            <a:ext cx="10513168" cy="103488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</a:t>
            </a:r>
            <a:br>
              <a:rPr lang="de-DE"/>
            </a:br>
            <a:r>
              <a:rPr lang="de-DE"/>
              <a:t>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63419" y="4590689"/>
            <a:ext cx="10513168" cy="241226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="1">
                <a:solidFill>
                  <a:srgbClr val="541A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</a:t>
            </a:r>
            <a:br>
              <a:rPr lang="de-DE"/>
            </a:br>
            <a:r>
              <a:rPr lang="de-DE"/>
              <a:t>Untertitelmasters durch </a:t>
            </a:r>
            <a:br>
              <a:rPr lang="de-DE"/>
            </a:br>
            <a:r>
              <a:rPr lang="de-DE"/>
              <a:t>Klicken bearbeiten</a:t>
            </a:r>
            <a:br>
              <a:rPr lang="de-DE"/>
            </a:br>
            <a:r>
              <a:rPr lang="de-DE"/>
              <a:t>Zeile 4</a:t>
            </a:r>
            <a:br>
              <a:rPr lang="de-DE"/>
            </a:br>
            <a:r>
              <a:rPr lang="de-DE"/>
              <a:t>Zeile 5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FD7F957-D4D3-DEA4-B085-F3CB5B3665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360" y="224644"/>
            <a:ext cx="2243545" cy="126014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5360847-E76F-6C88-C623-7AF4EB2A5E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07111" y="234921"/>
            <a:ext cx="2937322" cy="142988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E589F88-F087-A700-5AA1-835937B1F6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40416" y="614029"/>
            <a:ext cx="1906389" cy="745978"/>
          </a:xfrm>
          <a:prstGeom prst="rect">
            <a:avLst/>
          </a:prstGeom>
        </p:spPr>
      </p:pic>
      <p:sp>
        <p:nvSpPr>
          <p:cNvPr id="15" name="Träne 14">
            <a:extLst>
              <a:ext uri="{FF2B5EF4-FFF2-40B4-BE49-F238E27FC236}">
                <a16:creationId xmlns:a16="http://schemas.microsoft.com/office/drawing/2014/main" id="{48CA9F30-564C-E8A4-E89B-8C224FC4C1B9}"/>
              </a:ext>
            </a:extLst>
          </p:cNvPr>
          <p:cNvSpPr/>
          <p:nvPr userDrawn="1"/>
        </p:nvSpPr>
        <p:spPr>
          <a:xfrm rot="10800000">
            <a:off x="8216549" y="4158317"/>
            <a:ext cx="2248744" cy="2138812"/>
          </a:xfrm>
          <a:prstGeom prst="teardrop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l" defTabSz="82153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7000" b="0" i="0" u="none" strike="noStrike" cap="all" spc="0" normalizeH="0" baseline="0">
              <a:ln>
                <a:noFill/>
              </a:ln>
              <a:solidFill>
                <a:srgbClr val="3A4044"/>
              </a:solidFill>
              <a:effectLst/>
              <a:uFillTx/>
              <a:latin typeface="+mn-lt"/>
              <a:ea typeface="+mn-ea"/>
              <a:cs typeface="+mn-cs"/>
              <a:sym typeface="Decima Round Bold"/>
            </a:endParaRPr>
          </a:p>
        </p:txBody>
      </p:sp>
      <p:pic>
        <p:nvPicPr>
          <p:cNvPr id="17" name="Grafik 16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6AD8381A-D17A-6136-3B03-E2F1812874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4888" y="338911"/>
            <a:ext cx="2696611" cy="1221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453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e (viele Partn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1339" y="4365104"/>
            <a:ext cx="3312968" cy="153183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4728" y="2150388"/>
            <a:ext cx="11285888" cy="1310320"/>
          </a:xfrm>
          <a:prstGeom prst="rect">
            <a:avLst/>
          </a:prstGeom>
        </p:spPr>
        <p:txBody>
          <a:bodyPr/>
          <a:lstStyle>
            <a:lvl1pPr algn="ctr">
              <a:lnSpc>
                <a:spcPct val="85000"/>
              </a:lnSpc>
              <a:defRPr sz="4500"/>
            </a:lvl1pPr>
          </a:lstStyle>
          <a:p>
            <a:endParaRPr lang="de-DE"/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0512491" y="6306466"/>
            <a:ext cx="1584176" cy="4709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Rechteck 8"/>
          <p:cNvSpPr/>
          <p:nvPr userDrawn="1"/>
        </p:nvSpPr>
        <p:spPr>
          <a:xfrm>
            <a:off x="376331" y="5301208"/>
            <a:ext cx="7704855" cy="30870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/>
          <a:p>
            <a:r>
              <a:rPr lang="de-DE" sz="1200" b="1">
                <a:latin typeface="Arial" panose="020B0604020202020204" pitchFamily="34" charset="0"/>
                <a:cs typeface="Arial" panose="020B0604020202020204" pitchFamily="34" charset="0"/>
              </a:rPr>
              <a:t>Das Projekt „</a:t>
            </a:r>
            <a:r>
              <a:rPr lang="de-DE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KoK</a:t>
            </a:r>
            <a:r>
              <a:rPr lang="de-DE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Lern- und Kompetenzarchitektur Krankenhaus </a:t>
            </a:r>
            <a:r>
              <a:rPr lang="de-DE" sz="1200" b="1">
                <a:latin typeface="Arial" panose="020B0604020202020204" pitchFamily="34" charset="0"/>
                <a:cs typeface="Arial" panose="020B0604020202020204" pitchFamily="34" charset="0"/>
              </a:rPr>
              <a:t>“ wird im Rahmen des Programms „Wandel der Arbeit sozialpartnerschaftlich gestalten“ durch das Bundesministerium für Arbeit und Soziales und die Europäische Union über den Europäischen Sozialfonds Plus (ESF Plus) gefördert.</a:t>
            </a:r>
          </a:p>
        </p:txBody>
      </p:sp>
    </p:spTree>
    <p:extLst>
      <p:ext uri="{BB962C8B-B14F-4D97-AF65-F5344CB8AC3E}">
        <p14:creationId xmlns:p14="http://schemas.microsoft.com/office/powerpoint/2010/main" val="3401715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D0C8A7-2475-4529-BE27-83E2F87DE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121195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D0C8A7-2475-4529-BE27-83E2F87DE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CC424A9C-0A98-4320-9CDB-044915B524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7" y="0"/>
            <a:ext cx="12192000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8FD4EAB8-75F8-4E70-8825-B3D11EBE7C4D}"/>
              </a:ext>
            </a:extLst>
          </p:cNvPr>
          <p:cNvSpPr/>
          <p:nvPr userDrawn="1"/>
        </p:nvSpPr>
        <p:spPr bwMode="auto">
          <a:xfrm>
            <a:off x="0" y="4869160"/>
            <a:ext cx="12192000" cy="1440160"/>
          </a:xfrm>
          <a:prstGeom prst="rect">
            <a:avLst/>
          </a:prstGeom>
          <a:solidFill>
            <a:schemeClr val="bg1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8A36F1CF-DE5F-43F9-A490-8062198AD7D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007435" y="5157192"/>
            <a:ext cx="9889099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  <a:defRPr lang="de-DE"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50000"/>
              </a:spcBef>
              <a:spcAft>
                <a:spcPct val="0"/>
              </a:spcAft>
              <a:buChar char="-"/>
              <a:defRPr sz="2000" b="1">
                <a:solidFill>
                  <a:srgbClr val="333399"/>
                </a:solidFill>
                <a:latin typeface="+mn-lt"/>
              </a:defRPr>
            </a:lvl9pPr>
          </a:lstStyle>
          <a:p>
            <a:pPr marL="106363" lvl="0" indent="0">
              <a:spcBef>
                <a:spcPts val="1800"/>
              </a:spcBef>
              <a:spcAft>
                <a:spcPts val="1800"/>
              </a:spcAft>
              <a:buNone/>
            </a:pPr>
            <a:endParaRPr kumimoji="0" lang="de-DE" sz="3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yriad Pro Light" panose="020B0403030403020204" pitchFamily="34" charset="0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B65855B-A5E4-4C7F-9BBC-327195B1B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7" y="5154816"/>
            <a:ext cx="9697079" cy="1154505"/>
          </a:xfrm>
          <a:prstGeom prst="rect">
            <a:avLst/>
          </a:prstGeom>
        </p:spPr>
        <p:txBody>
          <a:bodyPr vert="horz"/>
          <a:lstStyle>
            <a:lvl1pPr>
              <a:defRPr sz="3200">
                <a:latin typeface="Myriad Pro Light" panose="020B0403030403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9F89684-B93F-4F16-8C92-4098FA25A4F0}"/>
              </a:ext>
            </a:extLst>
          </p:cNvPr>
          <p:cNvSpPr/>
          <p:nvPr userDrawn="1"/>
        </p:nvSpPr>
        <p:spPr bwMode="auto">
          <a:xfrm>
            <a:off x="10896534" y="6453336"/>
            <a:ext cx="1292580" cy="288000"/>
          </a:xfrm>
          <a:prstGeom prst="rect">
            <a:avLst/>
          </a:prstGeom>
          <a:solidFill>
            <a:srgbClr val="ECEDE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Rectangle 10">
            <a:extLst>
              <a:ext uri="{FF2B5EF4-FFF2-40B4-BE49-F238E27FC236}">
                <a16:creationId xmlns:a16="http://schemas.microsoft.com/office/drawing/2014/main" id="{B19D5939-5364-4A26-8F9E-E79863A8A39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992546" y="6381329"/>
            <a:ext cx="960105" cy="3832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lnSpc>
                <a:spcPct val="130000"/>
              </a:lnSpc>
              <a:spcBef>
                <a:spcPts val="1200"/>
              </a:spcBef>
              <a:tabLst>
                <a:tab pos="174625" algn="l"/>
                <a:tab pos="5207000" algn="l"/>
                <a:tab pos="8521700" algn="l"/>
              </a:tabLst>
              <a:defRPr/>
            </a:pPr>
            <a:fld id="{2AE2E79B-88B7-4205-A6CC-D3C7687B455F}" type="slidenum">
              <a:rPr lang="de-DE" sz="1400" b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 algn="ctr" eaLnBrk="0" hangingPunct="0">
                <a:lnSpc>
                  <a:spcPct val="130000"/>
                </a:lnSpc>
                <a:spcBef>
                  <a:spcPts val="1200"/>
                </a:spcBef>
                <a:tabLst>
                  <a:tab pos="174625" algn="l"/>
                  <a:tab pos="5207000" algn="l"/>
                  <a:tab pos="8521700" algn="l"/>
                </a:tabLst>
                <a:defRPr/>
              </a:pPr>
              <a:t>‹Nr.›</a:t>
            </a:fld>
            <a:r>
              <a:rPr lang="de-DE" sz="1400" b="1">
                <a:latin typeface="+mn-lt"/>
              </a:rPr>
              <a:t>	             </a:t>
            </a:r>
          </a:p>
        </p:txBody>
      </p:sp>
      <p:pic>
        <p:nvPicPr>
          <p:cNvPr id="11" name="Picture 4" descr="K:\Forschung\Formatvorlagen\Logos\neu\DKI-Logo_4c.png">
            <a:extLst>
              <a:ext uri="{FF2B5EF4-FFF2-40B4-BE49-F238E27FC236}">
                <a16:creationId xmlns:a16="http://schemas.microsoft.com/office/drawing/2014/main" id="{344B3A0E-7A32-4122-B23B-2A17CADB360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r="60372" b="7412"/>
          <a:stretch/>
        </p:blipFill>
        <p:spPr bwMode="auto">
          <a:xfrm>
            <a:off x="10921554" y="116632"/>
            <a:ext cx="935087" cy="4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15220057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C22D780-4660-49B1-85E6-F307B5BBDF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65589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C22D780-4660-49B1-85E6-F307B5BBDF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914A12A1-E212-46CA-BF67-4FAA0E6AAA35}"/>
              </a:ext>
            </a:extLst>
          </p:cNvPr>
          <p:cNvSpPr/>
          <p:nvPr userDrawn="1"/>
        </p:nvSpPr>
        <p:spPr bwMode="auto">
          <a:xfrm>
            <a:off x="0" y="692696"/>
            <a:ext cx="12192000" cy="504056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500952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C22D780-4660-49B1-85E6-F307B5BBDF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00128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C22D780-4660-49B1-85E6-F307B5BBDF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3DC765CF-E6E7-4851-BF25-E78E9C22C4A1}"/>
              </a:ext>
            </a:extLst>
          </p:cNvPr>
          <p:cNvSpPr/>
          <p:nvPr userDrawn="1"/>
        </p:nvSpPr>
        <p:spPr bwMode="auto">
          <a:xfrm>
            <a:off x="0" y="692696"/>
            <a:ext cx="12192000" cy="5040560"/>
          </a:xfrm>
          <a:prstGeom prst="rect">
            <a:avLst/>
          </a:prstGeom>
          <a:solidFill>
            <a:srgbClr val="4B8FC8">
              <a:alpha val="7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9439383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C22D780-4660-49B1-85E6-F307B5BBDF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8047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C22D780-4660-49B1-85E6-F307B5BBDF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33225154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C7C5162-5784-4C83-80EF-B1EC557DBE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063608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C7C5162-5784-4C83-80EF-B1EC557DB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3">
            <a:extLst>
              <a:ext uri="{FF2B5EF4-FFF2-40B4-BE49-F238E27FC236}">
                <a16:creationId xmlns:a16="http://schemas.microsoft.com/office/drawing/2014/main" id="{4EB6A243-8739-4A5B-8400-388B15CA7B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95467" y="103338"/>
            <a:ext cx="9409045" cy="825333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20000"/>
              </a:lnSpc>
              <a:spcBef>
                <a:spcPts val="1200"/>
              </a:spcBef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25931832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C2F67E-5B27-4BCC-B210-5D7681D95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213555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C2F67E-5B27-4BCC-B210-5D7681D95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1295467" y="1484784"/>
            <a:ext cx="10561173" cy="4680520"/>
          </a:xfrm>
        </p:spPr>
        <p:txBody>
          <a:bodyPr/>
          <a:lstStyle>
            <a:lvl1pPr marL="342900" indent="-342900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  <a:defRPr sz="2400" b="0">
                <a:solidFill>
                  <a:schemeClr val="tx1"/>
                </a:solidFill>
                <a:latin typeface="+mn-lt"/>
              </a:defRPr>
            </a:lvl1pPr>
            <a:lvl2pPr marL="742950" indent="-285750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  <a:defRPr sz="2000" b="0">
                <a:solidFill>
                  <a:schemeClr val="tx1"/>
                </a:solidFill>
                <a:latin typeface="+mn-lt"/>
              </a:defRPr>
            </a:lvl2pPr>
            <a:lvl3pPr marL="1143000" indent="-228600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+mn-lt"/>
              </a:defRPr>
            </a:lvl3pPr>
            <a:lvl4pPr marL="1600200" indent="-228600"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§"/>
              <a:defRPr sz="1600" b="0">
                <a:solidFill>
                  <a:schemeClr val="tx1"/>
                </a:solidFill>
                <a:latin typeface="+mn-lt"/>
              </a:defRPr>
            </a:lvl4pPr>
            <a:lvl5pP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1295467" y="443428"/>
            <a:ext cx="9409045" cy="825333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20000"/>
              </a:lnSpc>
              <a:spcBef>
                <a:spcPts val="1200"/>
              </a:spcBef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43757403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137634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8" imgH="377" progId="TCLayout.ActiveDocument.1">
                  <p:embed/>
                </p:oleObj>
              </mc:Choice>
              <mc:Fallback>
                <p:oleObj name="think-cell Folie" r:id="rId3" imgW="378" imgH="37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1295467" y="1071546"/>
            <a:ext cx="10706075" cy="5093758"/>
          </a:xfrm>
        </p:spPr>
        <p:txBody>
          <a:bodyPr/>
          <a:lstStyle>
            <a:lvl1pPr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sz="2400" b="0">
                <a:solidFill>
                  <a:schemeClr val="tx1"/>
                </a:solidFill>
              </a:defRPr>
            </a:lvl1pPr>
            <a:lvl2pPr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sz="2000" b="0">
                <a:solidFill>
                  <a:schemeClr val="tx1"/>
                </a:solidFill>
              </a:defRPr>
            </a:lvl2pPr>
            <a:lvl3pPr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sz="1800" b="0">
                <a:solidFill>
                  <a:schemeClr val="tx1"/>
                </a:solidFill>
              </a:defRPr>
            </a:lvl3pPr>
            <a:lvl4pPr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sz="1600" b="0">
                <a:solidFill>
                  <a:schemeClr val="tx1"/>
                </a:solidFill>
              </a:defRPr>
            </a:lvl4pPr>
            <a:lvl5pPr>
              <a:buClr>
                <a:schemeClr val="tx1">
                  <a:lumMod val="75000"/>
                </a:schemeClr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69244041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9FA2F3A-6AC1-47A8-9A90-E41B0493B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752457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9FA2F3A-6AC1-47A8-9A90-E41B0493B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1295467" y="1484800"/>
            <a:ext cx="4560000" cy="4680506"/>
          </a:xfrm>
        </p:spPr>
        <p:txBody>
          <a:bodyPr/>
          <a:lstStyle>
            <a:lvl1pPr>
              <a:buFont typeface="Wingdings" pitchFamily="2" charset="2"/>
              <a:buChar char="§"/>
              <a:defRPr sz="2000" b="0">
                <a:solidFill>
                  <a:schemeClr val="tx1">
                    <a:lumMod val="75000"/>
                  </a:schemeClr>
                </a:solidFill>
              </a:defRPr>
            </a:lvl1pPr>
            <a:lvl2pPr>
              <a:buFont typeface="Wingdings" pitchFamily="2" charset="2"/>
              <a:buChar char="§"/>
              <a:defRPr sz="1800" b="0">
                <a:solidFill>
                  <a:schemeClr val="tx1">
                    <a:lumMod val="75000"/>
                  </a:schemeClr>
                </a:solidFill>
              </a:defRPr>
            </a:lvl2pPr>
            <a:lvl3pPr>
              <a:buFont typeface="Wingdings" pitchFamily="2" charset="2"/>
              <a:buChar char="§"/>
              <a:defRPr sz="1600" b="0">
                <a:solidFill>
                  <a:schemeClr val="tx1">
                    <a:lumMod val="75000"/>
                  </a:schemeClr>
                </a:solidFill>
              </a:defRPr>
            </a:lvl3pPr>
            <a:lvl4pPr>
              <a:buFont typeface="Wingdings" pitchFamily="2" charset="2"/>
              <a:buChar char="§"/>
              <a:defRPr sz="1400" b="0">
                <a:solidFill>
                  <a:schemeClr val="tx1">
                    <a:lumMod val="75000"/>
                  </a:schemeClr>
                </a:solidFill>
              </a:defRPr>
            </a:lvl4pPr>
            <a:lvl5pPr>
              <a:buFont typeface="Wingdings" pitchFamily="2" charset="2"/>
              <a:buChar char="§"/>
              <a:defRPr sz="1200" b="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6258176" y="1484784"/>
            <a:ext cx="4560000" cy="4680520"/>
          </a:xfrm>
        </p:spPr>
        <p:txBody>
          <a:bodyPr/>
          <a:lstStyle>
            <a:lvl1pPr>
              <a:buFont typeface="Wingdings" pitchFamily="2" charset="2"/>
              <a:buChar char="§"/>
              <a:defRPr sz="2000" b="0">
                <a:solidFill>
                  <a:schemeClr val="tx1">
                    <a:lumMod val="75000"/>
                  </a:schemeClr>
                </a:solidFill>
              </a:defRPr>
            </a:lvl1pPr>
            <a:lvl2pPr>
              <a:buFont typeface="Wingdings" pitchFamily="2" charset="2"/>
              <a:buChar char="§"/>
              <a:defRPr sz="1800" b="0">
                <a:solidFill>
                  <a:schemeClr val="tx1">
                    <a:lumMod val="75000"/>
                  </a:schemeClr>
                </a:solidFill>
              </a:defRPr>
            </a:lvl2pPr>
            <a:lvl3pPr>
              <a:buFont typeface="Wingdings" pitchFamily="2" charset="2"/>
              <a:buChar char="§"/>
              <a:defRPr sz="1600" b="0">
                <a:solidFill>
                  <a:schemeClr val="tx1">
                    <a:lumMod val="75000"/>
                  </a:schemeClr>
                </a:solidFill>
              </a:defRPr>
            </a:lvl3pPr>
            <a:lvl4pPr>
              <a:buFont typeface="Wingdings" pitchFamily="2" charset="2"/>
              <a:buChar char="§"/>
              <a:defRPr sz="1400" b="0">
                <a:solidFill>
                  <a:schemeClr val="tx1">
                    <a:lumMod val="75000"/>
                  </a:schemeClr>
                </a:solidFill>
              </a:defRPr>
            </a:lvl4pPr>
            <a:lvl5pPr>
              <a:buFont typeface="Wingdings" pitchFamily="2" charset="2"/>
              <a:buChar char="§"/>
              <a:defRPr sz="1200" b="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3"/>
          <p:cNvSpPr>
            <a:spLocks noGrp="1"/>
          </p:cNvSpPr>
          <p:nvPr>
            <p:ph type="title" hasCustomPrompt="1"/>
          </p:nvPr>
        </p:nvSpPr>
        <p:spPr>
          <a:xfrm>
            <a:off x="1295467" y="443428"/>
            <a:ext cx="9409045" cy="825333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20000"/>
              </a:lnSpc>
              <a:spcBef>
                <a:spcPts val="1200"/>
              </a:spcBef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84886239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0898B31-1694-4145-A284-C075A2AD4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857225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0898B31-1694-4145-A284-C075A2AD4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/>
          <p:cNvSpPr>
            <a:spLocks noGrp="1"/>
          </p:cNvSpPr>
          <p:nvPr>
            <p:ph sz="quarter" idx="10"/>
          </p:nvPr>
        </p:nvSpPr>
        <p:spPr>
          <a:xfrm>
            <a:off x="1295467" y="1484784"/>
            <a:ext cx="10610824" cy="4680520"/>
          </a:xfrm>
        </p:spPr>
        <p:txBody>
          <a:bodyPr/>
          <a:lstStyle>
            <a:lvl1pPr>
              <a:defRPr b="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b="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b="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b="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b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itel 3"/>
          <p:cNvSpPr>
            <a:spLocks noGrp="1"/>
          </p:cNvSpPr>
          <p:nvPr>
            <p:ph type="title" hasCustomPrompt="1"/>
          </p:nvPr>
        </p:nvSpPr>
        <p:spPr>
          <a:xfrm>
            <a:off x="1295467" y="443428"/>
            <a:ext cx="9409045" cy="825333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20000"/>
              </a:lnSpc>
              <a:spcBef>
                <a:spcPts val="1200"/>
              </a:spcBef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72296657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1343546"/>
            <a:ext cx="11328400" cy="78931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11.02.2025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4BD8C704-0B9D-32AE-D8EA-E4537498341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0" y="2294405"/>
            <a:ext cx="11328400" cy="390637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CBBD"/>
              </a:buClr>
              <a:buFont typeface="+mj-lt"/>
              <a:buAutoNum type="arabicPeriod"/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9113" indent="-342900">
              <a:buClr>
                <a:srgbClr val="00CBBD"/>
              </a:buClr>
              <a:buFont typeface="+mj-lt"/>
              <a:buAutoNum type="arabicPeriod"/>
              <a:defRPr/>
            </a:lvl2pPr>
            <a:lvl3pPr marL="703263" indent="-342900">
              <a:buClr>
                <a:srgbClr val="00CBBD"/>
              </a:buClr>
              <a:buFont typeface="+mj-lt"/>
              <a:buAutoNum type="arabicPeriod"/>
              <a:defRPr/>
            </a:lvl3pPr>
            <a:lvl4pPr marL="877887" indent="-342900">
              <a:buClr>
                <a:srgbClr val="00CBBD"/>
              </a:buClr>
              <a:buFont typeface="+mj-lt"/>
              <a:buAutoNum type="arabicPeriod"/>
              <a:defRPr/>
            </a:lvl4pPr>
            <a:lvl5pPr marL="1063625" indent="-342900">
              <a:buClr>
                <a:srgbClr val="00CBBD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74564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F0DC4DF-A229-42FE-BD65-0F04BBE32B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959439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F0DC4DF-A229-42FE-BD65-0F04BBE32B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3"/>
          <p:cNvSpPr txBox="1">
            <a:spLocks/>
          </p:cNvSpPr>
          <p:nvPr userDrawn="1"/>
        </p:nvSpPr>
        <p:spPr>
          <a:xfrm>
            <a:off x="609600" y="103188"/>
            <a:ext cx="10094912" cy="82550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spcBef>
                <a:spcPts val="1200"/>
              </a:spcBef>
              <a:defRPr sz="2000" b="1">
                <a:solidFill>
                  <a:schemeClr val="tx1"/>
                </a:solidFill>
              </a:defRPr>
            </a:lvl1pPr>
          </a:lstStyle>
          <a:p>
            <a:pPr eaLnBrk="0" hangingPunct="0">
              <a:defRPr/>
            </a:pPr>
            <a:r>
              <a:rPr lang="de-DE" sz="2800" b="0" kern="0">
                <a:latin typeface="+mj-lt"/>
                <a:ea typeface="+mj-ea"/>
                <a:cs typeface="+mj-cs"/>
              </a:rPr>
              <a:t>Titelmasterformat durch Klicken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1" y="1074482"/>
            <a:ext cx="4011084" cy="1068634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1071546"/>
            <a:ext cx="6815667" cy="5093758"/>
          </a:xfrm>
        </p:spPr>
        <p:txBody>
          <a:bodyPr/>
          <a:lstStyle>
            <a:lvl1pPr>
              <a:defRPr lang="de-DE" sz="2400" b="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de-DE" sz="2000" b="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de-DE" sz="1800" b="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de-DE" sz="1600" b="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de-DE" sz="1400" b="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342900" lvl="0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de-DE"/>
              <a:t>Textmasterformat bearbeiten</a:t>
            </a:r>
          </a:p>
          <a:p>
            <a:pPr marL="342900" lvl="1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de-DE"/>
              <a:t>Zweite Ebene</a:t>
            </a:r>
          </a:p>
          <a:p>
            <a:pPr marL="342900" lvl="2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de-DE"/>
              <a:t>Dritte Ebene</a:t>
            </a:r>
          </a:p>
          <a:p>
            <a:pPr marL="342900" lvl="3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de-DE"/>
              <a:t>Vierte Ebene</a:t>
            </a:r>
          </a:p>
          <a:p>
            <a:pPr marL="342900" lvl="4" indent="-3429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2143116"/>
            <a:ext cx="4011084" cy="4022188"/>
          </a:xfrm>
        </p:spPr>
        <p:txBody>
          <a:bodyPr/>
          <a:lstStyle>
            <a:lvl1pPr marL="0" indent="0">
              <a:buNone/>
              <a:defRPr sz="14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211287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DDBF12-FC2B-4A33-A8A0-3F5691F31E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D775D1-0506-4564-9598-7FE0D3DAC5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E9FC506-9D01-4519-9085-EA4DF97AE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11.02.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7D70E0-AB78-49C7-9C4E-D0CF8AE252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E00494C-A900-4A8F-B556-BB3BFA9F9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C06E5-F985-46D0-B02E-21C6F8C0DDE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0655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D933DC-A8AB-440E-8CEB-C6981C32D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D133B-7C69-4174-84E6-F61C4A1665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EA6B5EE-623B-4D6B-B835-081F414D2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11.02.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926FA23-FA50-4600-9B6B-AF9F39154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6589E3-A243-4EE7-88D5-C79FF9C7E4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C06E5-F985-46D0-B02E-21C6F8C0DDE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4658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E5CAA0-DC1C-4B87-9209-363919BAC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7DCE3F2-08EE-4DA5-913B-F1BBFA00FA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83BEBB-5E15-4D59-B5F9-86B0F84EDF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11.02.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3866F6-06FA-4685-B4AE-9E84766A48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8B1ECC-A822-42D8-AC5D-9AD8CBD0A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C06E5-F985-46D0-B02E-21C6F8C0DDE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6056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35A3D1-B291-4090-9EA3-E405CCCFF5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EEDDE8E-5939-4D4F-8B83-3ED2F8AEEE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0F078-871D-4565-89F6-294AE2A6F4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A3C4972-2910-401D-8FE0-4F6A19CE4B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11.02.2025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9A1D574-F5AE-403B-A91E-0D9E948216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16DDC13-DA26-4CF8-952E-D2372050E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C06E5-F985-46D0-B02E-21C6F8C0DDE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417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EC50A6-7717-41B3-AF23-F178DBD6A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763571"/>
            <a:ext cx="10515600" cy="92711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456463-3F2D-4536-85A1-374B9A4B0B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6A71C95-7767-4A8F-8E8C-6210C37CA1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F005CD-9318-4FBE-BA06-984AFF3ADC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757556B-DA85-418E-A137-64AB3BFE23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0C86652-4EFC-4F9E-9BEB-356507152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11.02.2025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B12CEBE-3F9C-4034-BF60-CBF686052F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56E5BFB-2DC5-4A47-9F2A-B417CA1B4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C06E5-F985-46D0-B02E-21C6F8C0DDE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5475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0C23BE-BB01-4CF8-8327-CA872AF22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B4C758D-A8C6-46A4-8DA4-35280AE44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11.02.202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BEB409-130B-441D-A3A2-2A5E9E0C15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F6C98EF-7E42-4CAA-B47F-2A2ED9130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C06E5-F985-46D0-B02E-21C6F8C0DDE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5375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rgbClr val="00B7A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räne 10">
            <a:extLst>
              <a:ext uri="{FF2B5EF4-FFF2-40B4-BE49-F238E27FC236}">
                <a16:creationId xmlns:a16="http://schemas.microsoft.com/office/drawing/2014/main" id="{383C8A6C-8A94-30DF-9707-6ADF2ADD2075}"/>
              </a:ext>
            </a:extLst>
          </p:cNvPr>
          <p:cNvSpPr/>
          <p:nvPr userDrawn="1"/>
        </p:nvSpPr>
        <p:spPr>
          <a:xfrm rot="5400000">
            <a:off x="7032964" y="1550865"/>
            <a:ext cx="4429533" cy="4026848"/>
          </a:xfrm>
          <a:prstGeom prst="teardrop">
            <a:avLst/>
          </a:prstGeom>
          <a:solidFill>
            <a:srgbClr val="541AA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l" defTabSz="82153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7000" b="0" i="0" u="none" strike="noStrike" cap="all" spc="0" normalizeH="0" baseline="0">
              <a:ln>
                <a:noFill/>
              </a:ln>
              <a:solidFill>
                <a:srgbClr val="3A4044"/>
              </a:solidFill>
              <a:effectLst/>
              <a:uFillTx/>
              <a:latin typeface="+mn-lt"/>
              <a:ea typeface="+mn-ea"/>
              <a:cs typeface="+mn-cs"/>
              <a:sym typeface="Decima Round Bol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419" y="2394121"/>
            <a:ext cx="10513168" cy="103488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</a:t>
            </a:r>
            <a:br>
              <a:rPr lang="de-DE"/>
            </a:br>
            <a:r>
              <a:rPr lang="de-DE"/>
              <a:t>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63419" y="4590689"/>
            <a:ext cx="10513168" cy="241226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="1">
                <a:solidFill>
                  <a:srgbClr val="541A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</a:t>
            </a:r>
            <a:br>
              <a:rPr lang="de-DE"/>
            </a:br>
            <a:r>
              <a:rPr lang="de-DE"/>
              <a:t>Untertitelmasters durch </a:t>
            </a:r>
            <a:br>
              <a:rPr lang="de-DE"/>
            </a:br>
            <a:r>
              <a:rPr lang="de-DE"/>
              <a:t>Klicken bearbeiten</a:t>
            </a:r>
            <a:br>
              <a:rPr lang="de-DE"/>
            </a:br>
            <a:r>
              <a:rPr lang="de-DE"/>
              <a:t>Zeile 4</a:t>
            </a:r>
            <a:br>
              <a:rPr lang="de-DE"/>
            </a:br>
            <a:r>
              <a:rPr lang="de-DE"/>
              <a:t>Zeile 5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FD7F957-D4D3-DEA4-B085-F3CB5B3665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360" y="224644"/>
            <a:ext cx="2243545" cy="126014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5360847-E76F-6C88-C623-7AF4EB2A5E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07111" y="234921"/>
            <a:ext cx="2937322" cy="142988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E589F88-F087-A700-5AA1-835937B1F6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40416" y="614029"/>
            <a:ext cx="1906389" cy="745978"/>
          </a:xfrm>
          <a:prstGeom prst="rect">
            <a:avLst/>
          </a:prstGeom>
        </p:spPr>
      </p:pic>
      <p:sp>
        <p:nvSpPr>
          <p:cNvPr id="15" name="Träne 14">
            <a:extLst>
              <a:ext uri="{FF2B5EF4-FFF2-40B4-BE49-F238E27FC236}">
                <a16:creationId xmlns:a16="http://schemas.microsoft.com/office/drawing/2014/main" id="{48CA9F30-564C-E8A4-E89B-8C224FC4C1B9}"/>
              </a:ext>
            </a:extLst>
          </p:cNvPr>
          <p:cNvSpPr/>
          <p:nvPr userDrawn="1"/>
        </p:nvSpPr>
        <p:spPr>
          <a:xfrm rot="10800000">
            <a:off x="8216549" y="4158317"/>
            <a:ext cx="2248744" cy="2138812"/>
          </a:xfrm>
          <a:prstGeom prst="teardrop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l" defTabSz="82153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7000" b="0" i="0" u="none" strike="noStrike" cap="all" spc="0" normalizeH="0" baseline="0">
              <a:ln>
                <a:noFill/>
              </a:ln>
              <a:solidFill>
                <a:srgbClr val="3A4044"/>
              </a:solidFill>
              <a:effectLst/>
              <a:uFillTx/>
              <a:latin typeface="+mn-lt"/>
              <a:ea typeface="+mn-ea"/>
              <a:cs typeface="+mn-cs"/>
              <a:sym typeface="Decima Round Bold"/>
            </a:endParaRPr>
          </a:p>
        </p:txBody>
      </p:sp>
      <p:pic>
        <p:nvPicPr>
          <p:cNvPr id="17" name="Grafik 16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6AD8381A-D17A-6136-3B03-E2F1812874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4888" y="338911"/>
            <a:ext cx="2696611" cy="1221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530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1343546"/>
            <a:ext cx="11328400" cy="78931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11.02.2025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4BD8C704-0B9D-32AE-D8EA-E4537498341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0" y="2294405"/>
            <a:ext cx="11328400" cy="390637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CBBD"/>
              </a:buClr>
              <a:buFont typeface="+mj-lt"/>
              <a:buAutoNum type="arabicPeriod"/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9113" indent="-342900">
              <a:buClr>
                <a:srgbClr val="00CBBD"/>
              </a:buClr>
              <a:buFont typeface="+mj-lt"/>
              <a:buAutoNum type="arabicPeriod"/>
              <a:defRPr/>
            </a:lvl2pPr>
            <a:lvl3pPr marL="703263" indent="-342900">
              <a:buClr>
                <a:srgbClr val="00CBBD"/>
              </a:buClr>
              <a:buFont typeface="+mj-lt"/>
              <a:buAutoNum type="arabicPeriod"/>
              <a:defRPr/>
            </a:lvl3pPr>
            <a:lvl4pPr marL="877887" indent="-342900">
              <a:buClr>
                <a:srgbClr val="00CBBD"/>
              </a:buClr>
              <a:buFont typeface="+mj-lt"/>
              <a:buAutoNum type="arabicPeriod"/>
              <a:defRPr/>
            </a:lvl4pPr>
            <a:lvl5pPr marL="1063625" indent="-342900">
              <a:buClr>
                <a:srgbClr val="00CBBD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16" y="285133"/>
            <a:ext cx="1034770" cy="68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579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&amp; Fließ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1343546"/>
            <a:ext cx="11328400" cy="645294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988840"/>
            <a:ext cx="11328400" cy="4211936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CBBD"/>
              </a:buClr>
              <a:buFontTx/>
              <a:buNone/>
              <a:defRPr/>
            </a:lvl1pPr>
            <a:lvl2pPr marL="176213" indent="0">
              <a:buClr>
                <a:srgbClr val="00CBBD"/>
              </a:buClr>
              <a:buFontTx/>
              <a:buNone/>
              <a:defRPr/>
            </a:lvl2pPr>
            <a:lvl3pPr marL="360363" indent="0">
              <a:buClr>
                <a:srgbClr val="00CBBD"/>
              </a:buClr>
              <a:buFontTx/>
              <a:buNone/>
              <a:defRPr/>
            </a:lvl3pPr>
            <a:lvl4pPr marL="534987" indent="0">
              <a:buClr>
                <a:srgbClr val="00CBBD"/>
              </a:buClr>
              <a:buFontTx/>
              <a:buNone/>
              <a:defRPr/>
            </a:lvl4pPr>
            <a:lvl5pPr marL="720725" indent="0">
              <a:buClr>
                <a:srgbClr val="00CBBD"/>
              </a:buClr>
              <a:buFontTx/>
              <a:buNone/>
              <a:defRPr/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11.02.2025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16" y="285133"/>
            <a:ext cx="1034770" cy="68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931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&amp; Fließ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1343546"/>
            <a:ext cx="11328400" cy="645294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988840"/>
            <a:ext cx="11328400" cy="4211936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CBBD"/>
              </a:buClr>
              <a:buFontTx/>
              <a:buNone/>
              <a:defRPr/>
            </a:lvl1pPr>
            <a:lvl2pPr marL="176213" indent="0">
              <a:buClr>
                <a:srgbClr val="00CBBD"/>
              </a:buClr>
              <a:buFontTx/>
              <a:buNone/>
              <a:defRPr/>
            </a:lvl2pPr>
            <a:lvl3pPr marL="360363" indent="0">
              <a:buClr>
                <a:srgbClr val="00CBBD"/>
              </a:buClr>
              <a:buFontTx/>
              <a:buNone/>
              <a:defRPr/>
            </a:lvl3pPr>
            <a:lvl4pPr marL="534987" indent="0">
              <a:buClr>
                <a:srgbClr val="00CBBD"/>
              </a:buClr>
              <a:buFontTx/>
              <a:buNone/>
              <a:defRPr/>
            </a:lvl4pPr>
            <a:lvl5pPr marL="720725" indent="0">
              <a:buClr>
                <a:srgbClr val="00CBBD"/>
              </a:buClr>
              <a:buFontTx/>
              <a:buNone/>
              <a:defRPr/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11.02.2025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8520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1343546"/>
            <a:ext cx="11328400" cy="78931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1800" y="2294405"/>
            <a:ext cx="11328400" cy="3906371"/>
          </a:xfrm>
          <a:prstGeom prst="rect">
            <a:avLst/>
          </a:prstGeom>
        </p:spPr>
        <p:txBody>
          <a:bodyPr/>
          <a:lstStyle>
            <a:lvl1pPr marL="176213" indent="-176213">
              <a:buClr>
                <a:srgbClr val="00CBBD"/>
              </a:buClr>
              <a:buFont typeface="Wingdings" pitchFamily="2" charset="2"/>
              <a:buChar char="§"/>
              <a:defRPr/>
            </a:lvl1pPr>
            <a:lvl2pPr marL="360363" indent="-184150">
              <a:buClr>
                <a:srgbClr val="00CBBD"/>
              </a:buClr>
              <a:buFont typeface="Wingdings" pitchFamily="2" charset="2"/>
              <a:buChar char="§"/>
              <a:defRPr/>
            </a:lvl2pPr>
            <a:lvl3pPr marL="534988" indent="-174625">
              <a:buClr>
                <a:srgbClr val="00CBBD"/>
              </a:buClr>
              <a:buFont typeface="Wingdings" pitchFamily="2" charset="2"/>
              <a:buChar char="§"/>
              <a:defRPr/>
            </a:lvl3pPr>
            <a:lvl4pPr marL="720725" indent="-185738">
              <a:buClr>
                <a:srgbClr val="00CBBD"/>
              </a:buClr>
              <a:buFont typeface="Wingdings" pitchFamily="2" charset="2"/>
              <a:buChar char="§"/>
              <a:defRPr/>
            </a:lvl4pPr>
            <a:lvl5pPr marL="895350" indent="-174625">
              <a:buClr>
                <a:srgbClr val="00CBBD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11.02.2025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16" y="285133"/>
            <a:ext cx="1034770" cy="68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5270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11.02.2025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AC0A65C1-525B-4CED-6258-D488E34E83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3419" y="1988840"/>
            <a:ext cx="6672741" cy="103488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000" b="1" i="0" cap="none">
                <a:solidFill>
                  <a:srgbClr val="541AAC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e-DE"/>
              <a:t>01. Titelmasterformat </a:t>
            </a:r>
            <a:br>
              <a:rPr lang="de-DE"/>
            </a:br>
            <a:r>
              <a:rPr lang="de-DE"/>
              <a:t>Durch Klicken Bearbeit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61485132-DF1A-9AE0-6814-054A62BF788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3419" y="3834281"/>
            <a:ext cx="10513168" cy="241226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="1">
                <a:solidFill>
                  <a:srgbClr val="00CBB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</a:t>
            </a:r>
            <a:br>
              <a:rPr lang="de-DE"/>
            </a:br>
            <a:r>
              <a:rPr lang="de-DE"/>
              <a:t>Untertitelmasters durch </a:t>
            </a:r>
            <a:br>
              <a:rPr lang="de-DE"/>
            </a:br>
            <a:r>
              <a:rPr lang="de-DE"/>
              <a:t>Klicken bearbeiten</a:t>
            </a:r>
            <a:br>
              <a:rPr lang="de-DE"/>
            </a:br>
            <a:r>
              <a:rPr lang="de-DE"/>
              <a:t>Zeile 4</a:t>
            </a:r>
            <a:br>
              <a:rPr lang="de-DE"/>
            </a:br>
            <a:r>
              <a:rPr lang="de-DE"/>
              <a:t>Zeile 5</a:t>
            </a:r>
          </a:p>
        </p:txBody>
      </p:sp>
      <p:sp>
        <p:nvSpPr>
          <p:cNvPr id="8" name="Träne 7">
            <a:extLst>
              <a:ext uri="{FF2B5EF4-FFF2-40B4-BE49-F238E27FC236}">
                <a16:creationId xmlns:a16="http://schemas.microsoft.com/office/drawing/2014/main" id="{87F78EE4-91E4-D6B2-B70D-661EB737D82B}"/>
              </a:ext>
            </a:extLst>
          </p:cNvPr>
          <p:cNvSpPr/>
          <p:nvPr userDrawn="1"/>
        </p:nvSpPr>
        <p:spPr>
          <a:xfrm rot="5400000">
            <a:off x="7896200" y="2852936"/>
            <a:ext cx="3275404" cy="3275404"/>
          </a:xfrm>
          <a:prstGeom prst="teardrop">
            <a:avLst/>
          </a:prstGeom>
          <a:solidFill>
            <a:srgbClr val="541AA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l" defTabSz="82153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7000" b="0" i="0" u="none" strike="noStrike" cap="all" spc="0" normalizeH="0" baseline="0">
              <a:ln>
                <a:noFill/>
              </a:ln>
              <a:solidFill>
                <a:srgbClr val="3A4044"/>
              </a:solidFill>
              <a:effectLst/>
              <a:uFillTx/>
              <a:latin typeface="+mn-lt"/>
              <a:ea typeface="+mn-ea"/>
              <a:cs typeface="+mn-cs"/>
              <a:sym typeface="Decima Round Bold"/>
            </a:endParaRPr>
          </a:p>
        </p:txBody>
      </p:sp>
      <p:sp>
        <p:nvSpPr>
          <p:cNvPr id="7" name="Träne 6">
            <a:extLst>
              <a:ext uri="{FF2B5EF4-FFF2-40B4-BE49-F238E27FC236}">
                <a16:creationId xmlns:a16="http://schemas.microsoft.com/office/drawing/2014/main" id="{DB78F9AA-F690-E026-A692-6CE6DCBAFCD6}"/>
              </a:ext>
            </a:extLst>
          </p:cNvPr>
          <p:cNvSpPr/>
          <p:nvPr userDrawn="1"/>
        </p:nvSpPr>
        <p:spPr>
          <a:xfrm rot="10800000">
            <a:off x="7248128" y="3140969"/>
            <a:ext cx="1728192" cy="1728192"/>
          </a:xfrm>
          <a:prstGeom prst="teardrop">
            <a:avLst/>
          </a:prstGeom>
          <a:solidFill>
            <a:srgbClr val="00CBBD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l" defTabSz="82153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7000" b="0" i="0" u="none" strike="noStrike" cap="all" spc="0" normalizeH="0" baseline="0">
              <a:ln>
                <a:noFill/>
              </a:ln>
              <a:solidFill>
                <a:srgbClr val="3A4044"/>
              </a:solidFill>
              <a:effectLst/>
              <a:uFillTx/>
              <a:latin typeface="+mn-lt"/>
              <a:ea typeface="+mn-ea"/>
              <a:cs typeface="+mn-cs"/>
              <a:sym typeface="Decima Round Bold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73558EE-63C4-0FAC-1565-71710BB0774A}"/>
              </a:ext>
            </a:extLst>
          </p:cNvPr>
          <p:cNvSpPr/>
          <p:nvPr userDrawn="1"/>
        </p:nvSpPr>
        <p:spPr>
          <a:xfrm>
            <a:off x="863419" y="1628800"/>
            <a:ext cx="1056117" cy="144016"/>
          </a:xfrm>
          <a:prstGeom prst="rect">
            <a:avLst/>
          </a:prstGeom>
          <a:solidFill>
            <a:srgbClr val="541AA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16" y="285133"/>
            <a:ext cx="1034770" cy="68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2358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/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11.02.2025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61485132-DF1A-9AE0-6814-054A62BF788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11424" y="2492896"/>
            <a:ext cx="10513168" cy="241226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="1">
                <a:solidFill>
                  <a:srgbClr val="541A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Statement Formatvorlage des </a:t>
            </a:r>
            <a:br>
              <a:rPr lang="de-DE"/>
            </a:br>
            <a:r>
              <a:rPr lang="de-DE"/>
              <a:t>Untertitelmasters durch </a:t>
            </a:r>
            <a:br>
              <a:rPr lang="de-DE"/>
            </a:br>
            <a:r>
              <a:rPr lang="de-DE"/>
              <a:t>Klicken bearbeiten</a:t>
            </a:r>
            <a:br>
              <a:rPr lang="de-DE"/>
            </a:br>
            <a:r>
              <a:rPr lang="de-DE"/>
              <a:t>Zeile 4</a:t>
            </a:r>
            <a:br>
              <a:rPr lang="de-DE"/>
            </a:br>
            <a:r>
              <a:rPr lang="de-DE"/>
              <a:t>Zeile 5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16" y="285133"/>
            <a:ext cx="1034770" cy="68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5119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1343546"/>
            <a:ext cx="11328400" cy="78931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2672384"/>
            <a:ext cx="4944120" cy="3528392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CBBD"/>
              </a:buClr>
              <a:buFontTx/>
              <a:buNone/>
              <a:defRPr/>
            </a:lvl1pPr>
            <a:lvl2pPr marL="176213" indent="0">
              <a:buClr>
                <a:srgbClr val="00CBBD"/>
              </a:buClr>
              <a:buFontTx/>
              <a:buNone/>
              <a:defRPr/>
            </a:lvl2pPr>
            <a:lvl3pPr marL="360363" indent="0">
              <a:buClr>
                <a:srgbClr val="00CBBD"/>
              </a:buClr>
              <a:buFontTx/>
              <a:buNone/>
              <a:defRPr/>
            </a:lvl3pPr>
            <a:lvl4pPr marL="534987" indent="0">
              <a:buClr>
                <a:srgbClr val="00CBBD"/>
              </a:buClr>
              <a:buFontTx/>
              <a:buNone/>
              <a:defRPr/>
            </a:lvl4pPr>
            <a:lvl5pPr marL="720725" indent="0">
              <a:buClr>
                <a:srgbClr val="00CBBD"/>
              </a:buClr>
              <a:buFontTx/>
              <a:buNone/>
              <a:defRPr/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11.02.2025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BE806E4-3EA3-FA2D-6B95-8F266789FD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2671763"/>
            <a:ext cx="5545138" cy="3529012"/>
          </a:xfrm>
        </p:spPr>
        <p:txBody>
          <a:bodyPr/>
          <a:lstStyle/>
          <a:p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16" y="285133"/>
            <a:ext cx="1034770" cy="68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512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11.02.2025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16" y="285133"/>
            <a:ext cx="1034770" cy="68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3687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e (wenige Partn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467" y="5583408"/>
            <a:ext cx="2365598" cy="109379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3144" y="2370708"/>
            <a:ext cx="11287472" cy="1310320"/>
          </a:xfrm>
          <a:prstGeom prst="rect">
            <a:avLst/>
          </a:prstGeom>
        </p:spPr>
        <p:txBody>
          <a:bodyPr/>
          <a:lstStyle>
            <a:lvl1pPr algn="ctr">
              <a:lnSpc>
                <a:spcPct val="85000"/>
              </a:lnSpc>
              <a:defRPr sz="45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0512491" y="6306466"/>
            <a:ext cx="1584176" cy="4709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7" name="Rechteck 16"/>
          <p:cNvSpPr/>
          <p:nvPr userDrawn="1"/>
        </p:nvSpPr>
        <p:spPr>
          <a:xfrm>
            <a:off x="350454" y="4849731"/>
            <a:ext cx="7185706" cy="28803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/>
          <a:p>
            <a:r>
              <a:rPr lang="de-DE" sz="900" b="1">
                <a:latin typeface="Arial" panose="020B0604020202020204" pitchFamily="34" charset="0"/>
                <a:cs typeface="Arial" panose="020B0604020202020204" pitchFamily="34" charset="0"/>
              </a:rPr>
              <a:t>Das Projekt „Mustername“ wird im Rahmen des „Musterprogramms“ durch das Bundesministerium für Arbeit und Soziales und die Europäische Union über den </a:t>
            </a:r>
            <a:br>
              <a:rPr lang="de-DE" sz="900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900" b="1">
                <a:latin typeface="Arial" panose="020B0604020202020204" pitchFamily="34" charset="0"/>
                <a:cs typeface="Arial" panose="020B0604020202020204" pitchFamily="34" charset="0"/>
              </a:rPr>
              <a:t>Europäischen Sozialfonds Plus (ESF Plus) gefördert.</a:t>
            </a:r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335360" y="188640"/>
            <a:ext cx="0" cy="65887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 userDrawn="1"/>
        </p:nvCxnSpPr>
        <p:spPr>
          <a:xfrm>
            <a:off x="11640616" y="101521"/>
            <a:ext cx="0" cy="65887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16" y="285133"/>
            <a:ext cx="1034770" cy="68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886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e (viele Partn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1339" y="4365104"/>
            <a:ext cx="3312968" cy="153183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4728" y="2150388"/>
            <a:ext cx="11285888" cy="1310320"/>
          </a:xfrm>
          <a:prstGeom prst="rect">
            <a:avLst/>
          </a:prstGeom>
        </p:spPr>
        <p:txBody>
          <a:bodyPr/>
          <a:lstStyle>
            <a:lvl1pPr algn="ctr">
              <a:lnSpc>
                <a:spcPct val="85000"/>
              </a:lnSpc>
              <a:defRPr sz="4500"/>
            </a:lvl1pPr>
          </a:lstStyle>
          <a:p>
            <a:endParaRPr lang="de-DE"/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0512491" y="6306466"/>
            <a:ext cx="1584176" cy="4709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Rechteck 8"/>
          <p:cNvSpPr/>
          <p:nvPr userDrawn="1"/>
        </p:nvSpPr>
        <p:spPr>
          <a:xfrm>
            <a:off x="376331" y="5301208"/>
            <a:ext cx="7704855" cy="30870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/>
          <a:p>
            <a:r>
              <a:rPr lang="de-DE" sz="1200" b="1">
                <a:latin typeface="Arial" panose="020B0604020202020204" pitchFamily="34" charset="0"/>
                <a:cs typeface="Arial" panose="020B0604020202020204" pitchFamily="34" charset="0"/>
              </a:rPr>
              <a:t>Das Projekt „</a:t>
            </a:r>
            <a:r>
              <a:rPr lang="de-DE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KoK</a:t>
            </a:r>
            <a:r>
              <a:rPr lang="de-DE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Lern- und Kompetenzarchitektur Krankenhaus </a:t>
            </a:r>
            <a:r>
              <a:rPr lang="de-DE" sz="1200" b="1">
                <a:latin typeface="Arial" panose="020B0604020202020204" pitchFamily="34" charset="0"/>
                <a:cs typeface="Arial" panose="020B0604020202020204" pitchFamily="34" charset="0"/>
              </a:rPr>
              <a:t>“ wird im Rahmen des Programms „Wandel der Arbeit sozialpartnerschaftlich gestalten“ durch das Bundesministerium für Arbeit und Soziales und die Europäische Union über den Europäischen Sozialfonds Plus (ESF Plus) gefördert.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16" y="285133"/>
            <a:ext cx="1034770" cy="68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634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Untertitel dunk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E0727B2-2589-B54E-035C-72D98616D0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3BCB59-39B8-F8F1-0AFA-86344B9650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6484232-C450-487F-A70A-1CD37FBBC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3209E8AD-C2BD-F131-8EFB-3FD8668799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850" y="289587"/>
            <a:ext cx="1036410" cy="68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884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1343546"/>
            <a:ext cx="11328400" cy="78931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1800" y="2294405"/>
            <a:ext cx="11328400" cy="3906371"/>
          </a:xfrm>
          <a:prstGeom prst="rect">
            <a:avLst/>
          </a:prstGeom>
        </p:spPr>
        <p:txBody>
          <a:bodyPr/>
          <a:lstStyle>
            <a:lvl1pPr marL="176213" indent="-176213">
              <a:buClr>
                <a:srgbClr val="00CBBD"/>
              </a:buClr>
              <a:buFont typeface="Wingdings" pitchFamily="2" charset="2"/>
              <a:buChar char="§"/>
              <a:defRPr/>
            </a:lvl1pPr>
            <a:lvl2pPr marL="360363" indent="-184150">
              <a:buClr>
                <a:srgbClr val="00CBBD"/>
              </a:buClr>
              <a:buFont typeface="Wingdings" pitchFamily="2" charset="2"/>
              <a:buChar char="§"/>
              <a:defRPr/>
            </a:lvl2pPr>
            <a:lvl3pPr marL="534988" indent="-174625">
              <a:buClr>
                <a:srgbClr val="00CBBD"/>
              </a:buClr>
              <a:buFont typeface="Wingdings" pitchFamily="2" charset="2"/>
              <a:buChar char="§"/>
              <a:defRPr/>
            </a:lvl3pPr>
            <a:lvl4pPr marL="720725" indent="-185738">
              <a:buClr>
                <a:srgbClr val="00CBBD"/>
              </a:buClr>
              <a:buFont typeface="Wingdings" pitchFamily="2" charset="2"/>
              <a:buChar char="§"/>
              <a:defRPr/>
            </a:lvl4pPr>
            <a:lvl5pPr marL="895350" indent="-174625">
              <a:buClr>
                <a:srgbClr val="00CBBD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11.02.2025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57703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11.02.2025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AC0A65C1-525B-4CED-6258-D488E34E83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3419" y="1988840"/>
            <a:ext cx="6672741" cy="103488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000" b="1" i="0" cap="none">
                <a:solidFill>
                  <a:srgbClr val="541AAC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e-DE"/>
              <a:t>01. Titelmasterformat </a:t>
            </a:r>
            <a:br>
              <a:rPr lang="de-DE"/>
            </a:br>
            <a:r>
              <a:rPr lang="de-DE"/>
              <a:t>Durch Klicken Bearbeite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61485132-DF1A-9AE0-6814-054A62BF788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3419" y="3834281"/>
            <a:ext cx="10513168" cy="241226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="1">
                <a:solidFill>
                  <a:srgbClr val="00CBB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</a:t>
            </a:r>
            <a:br>
              <a:rPr lang="de-DE"/>
            </a:br>
            <a:r>
              <a:rPr lang="de-DE"/>
              <a:t>Untertitelmasters durch </a:t>
            </a:r>
            <a:br>
              <a:rPr lang="de-DE"/>
            </a:br>
            <a:r>
              <a:rPr lang="de-DE"/>
              <a:t>Klicken bearbeiten</a:t>
            </a:r>
            <a:br>
              <a:rPr lang="de-DE"/>
            </a:br>
            <a:r>
              <a:rPr lang="de-DE"/>
              <a:t>Zeile 4</a:t>
            </a:r>
            <a:br>
              <a:rPr lang="de-DE"/>
            </a:br>
            <a:r>
              <a:rPr lang="de-DE"/>
              <a:t>Zeile 5</a:t>
            </a:r>
          </a:p>
        </p:txBody>
      </p:sp>
      <p:sp>
        <p:nvSpPr>
          <p:cNvPr id="8" name="Träne 7">
            <a:extLst>
              <a:ext uri="{FF2B5EF4-FFF2-40B4-BE49-F238E27FC236}">
                <a16:creationId xmlns:a16="http://schemas.microsoft.com/office/drawing/2014/main" id="{87F78EE4-91E4-D6B2-B70D-661EB737D82B}"/>
              </a:ext>
            </a:extLst>
          </p:cNvPr>
          <p:cNvSpPr/>
          <p:nvPr userDrawn="1"/>
        </p:nvSpPr>
        <p:spPr>
          <a:xfrm rot="5400000">
            <a:off x="7896200" y="2852936"/>
            <a:ext cx="3275404" cy="3275404"/>
          </a:xfrm>
          <a:prstGeom prst="teardrop">
            <a:avLst/>
          </a:prstGeom>
          <a:solidFill>
            <a:srgbClr val="541AA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l" defTabSz="82153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7000" b="0" i="0" u="none" strike="noStrike" cap="all" spc="0" normalizeH="0" baseline="0">
              <a:ln>
                <a:noFill/>
              </a:ln>
              <a:solidFill>
                <a:srgbClr val="3A4044"/>
              </a:solidFill>
              <a:effectLst/>
              <a:uFillTx/>
              <a:latin typeface="+mn-lt"/>
              <a:ea typeface="+mn-ea"/>
              <a:cs typeface="+mn-cs"/>
              <a:sym typeface="Decima Round Bold"/>
            </a:endParaRPr>
          </a:p>
        </p:txBody>
      </p:sp>
      <p:sp>
        <p:nvSpPr>
          <p:cNvPr id="7" name="Träne 6">
            <a:extLst>
              <a:ext uri="{FF2B5EF4-FFF2-40B4-BE49-F238E27FC236}">
                <a16:creationId xmlns:a16="http://schemas.microsoft.com/office/drawing/2014/main" id="{DB78F9AA-F690-E026-A692-6CE6DCBAFCD6}"/>
              </a:ext>
            </a:extLst>
          </p:cNvPr>
          <p:cNvSpPr/>
          <p:nvPr userDrawn="1"/>
        </p:nvSpPr>
        <p:spPr>
          <a:xfrm rot="10800000">
            <a:off x="7248128" y="3140969"/>
            <a:ext cx="1728192" cy="1728192"/>
          </a:xfrm>
          <a:prstGeom prst="teardrop">
            <a:avLst/>
          </a:prstGeom>
          <a:solidFill>
            <a:srgbClr val="00CBBD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l" defTabSz="82153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7000" b="0" i="0" u="none" strike="noStrike" cap="all" spc="0" normalizeH="0" baseline="0">
              <a:ln>
                <a:noFill/>
              </a:ln>
              <a:solidFill>
                <a:srgbClr val="3A4044"/>
              </a:solidFill>
              <a:effectLst/>
              <a:uFillTx/>
              <a:latin typeface="+mn-lt"/>
              <a:ea typeface="+mn-ea"/>
              <a:cs typeface="+mn-cs"/>
              <a:sym typeface="Decima Round Bold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73558EE-63C4-0FAC-1565-71710BB0774A}"/>
              </a:ext>
            </a:extLst>
          </p:cNvPr>
          <p:cNvSpPr/>
          <p:nvPr userDrawn="1"/>
        </p:nvSpPr>
        <p:spPr>
          <a:xfrm>
            <a:off x="863419" y="1628800"/>
            <a:ext cx="1056117" cy="144016"/>
          </a:xfrm>
          <a:prstGeom prst="rect">
            <a:avLst/>
          </a:prstGeom>
          <a:solidFill>
            <a:srgbClr val="541AA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72693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/Statement">
    <p:bg>
      <p:bgPr>
        <a:solidFill>
          <a:srgbClr val="BFF2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11.02.2025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61485132-DF1A-9AE0-6814-054A62BF788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11424" y="2492896"/>
            <a:ext cx="10513168" cy="241226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="1">
                <a:solidFill>
                  <a:srgbClr val="541A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Statement Formatvorlage des </a:t>
            </a:r>
            <a:br>
              <a:rPr lang="de-DE"/>
            </a:br>
            <a:r>
              <a:rPr lang="de-DE"/>
              <a:t>Untertitelmasters durch </a:t>
            </a:r>
            <a:br>
              <a:rPr lang="de-DE"/>
            </a:br>
            <a:r>
              <a:rPr lang="de-DE"/>
              <a:t>Klicken bearbeiten</a:t>
            </a:r>
            <a:br>
              <a:rPr lang="de-DE"/>
            </a:br>
            <a:r>
              <a:rPr lang="de-DE"/>
              <a:t>Zeile 4</a:t>
            </a:r>
            <a:br>
              <a:rPr lang="de-DE"/>
            </a:br>
            <a:r>
              <a:rPr lang="de-DE"/>
              <a:t>Zeile 5</a:t>
            </a:r>
          </a:p>
        </p:txBody>
      </p:sp>
    </p:spTree>
    <p:extLst>
      <p:ext uri="{BB962C8B-B14F-4D97-AF65-F5344CB8AC3E}">
        <p14:creationId xmlns:p14="http://schemas.microsoft.com/office/powerpoint/2010/main" val="32665685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1343546"/>
            <a:ext cx="11328400" cy="78931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2672384"/>
            <a:ext cx="4944120" cy="3528392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CBBD"/>
              </a:buClr>
              <a:buFontTx/>
              <a:buNone/>
              <a:defRPr/>
            </a:lvl1pPr>
            <a:lvl2pPr marL="176213" indent="0">
              <a:buClr>
                <a:srgbClr val="00CBBD"/>
              </a:buClr>
              <a:buFontTx/>
              <a:buNone/>
              <a:defRPr/>
            </a:lvl2pPr>
            <a:lvl3pPr marL="360363" indent="0">
              <a:buClr>
                <a:srgbClr val="00CBBD"/>
              </a:buClr>
              <a:buFontTx/>
              <a:buNone/>
              <a:defRPr/>
            </a:lvl3pPr>
            <a:lvl4pPr marL="534987" indent="0">
              <a:buClr>
                <a:srgbClr val="00CBBD"/>
              </a:buClr>
              <a:buFontTx/>
              <a:buNone/>
              <a:defRPr/>
            </a:lvl4pPr>
            <a:lvl5pPr marL="720725" indent="0">
              <a:buClr>
                <a:srgbClr val="00CBBD"/>
              </a:buClr>
              <a:buFontTx/>
              <a:buNone/>
              <a:defRPr/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11.02.2025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BE806E4-3EA3-FA2D-6B95-8F266789FD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2671763"/>
            <a:ext cx="5545138" cy="352901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3130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11.02.2025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431800" y="6453336"/>
            <a:ext cx="9264600" cy="1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95501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e (wenige Partn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467" y="5583408"/>
            <a:ext cx="2365598" cy="109379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3144" y="2370708"/>
            <a:ext cx="11287472" cy="1310320"/>
          </a:xfrm>
          <a:prstGeom prst="rect">
            <a:avLst/>
          </a:prstGeom>
        </p:spPr>
        <p:txBody>
          <a:bodyPr/>
          <a:lstStyle>
            <a:lvl1pPr algn="ctr">
              <a:lnSpc>
                <a:spcPct val="85000"/>
              </a:lnSpc>
              <a:defRPr sz="45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0512491" y="6306466"/>
            <a:ext cx="1584176" cy="4709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7" name="Rechteck 16"/>
          <p:cNvSpPr/>
          <p:nvPr userDrawn="1"/>
        </p:nvSpPr>
        <p:spPr>
          <a:xfrm>
            <a:off x="350454" y="4849731"/>
            <a:ext cx="7185706" cy="28803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/>
          <a:p>
            <a:r>
              <a:rPr lang="de-DE" sz="900" b="1">
                <a:latin typeface="Arial" panose="020B0604020202020204" pitchFamily="34" charset="0"/>
                <a:cs typeface="Arial" panose="020B0604020202020204" pitchFamily="34" charset="0"/>
              </a:rPr>
              <a:t>Das Projekt „Mustername“ wird im Rahmen des „Musterprogramms“ durch das Bundesministerium für Arbeit und Soziales und die Europäische Union über den </a:t>
            </a:r>
            <a:br>
              <a:rPr lang="de-DE" sz="900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900" b="1">
                <a:latin typeface="Arial" panose="020B0604020202020204" pitchFamily="34" charset="0"/>
                <a:cs typeface="Arial" panose="020B0604020202020204" pitchFamily="34" charset="0"/>
              </a:rPr>
              <a:t>Europäischen Sozialfonds Plus (ESF Plus) gefördert.</a:t>
            </a:r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335360" y="188640"/>
            <a:ext cx="0" cy="65887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 userDrawn="1"/>
        </p:nvCxnSpPr>
        <p:spPr>
          <a:xfrm>
            <a:off x="11640616" y="101521"/>
            <a:ext cx="0" cy="65887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540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platzhalter 1"/>
          <p:cNvSpPr>
            <a:spLocks noGrp="1"/>
          </p:cNvSpPr>
          <p:nvPr>
            <p:ph type="title"/>
          </p:nvPr>
        </p:nvSpPr>
        <p:spPr>
          <a:xfrm>
            <a:off x="323850" y="1343546"/>
            <a:ext cx="11316766" cy="61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"/>
          </p:nvPr>
        </p:nvSpPr>
        <p:spPr>
          <a:xfrm>
            <a:off x="323850" y="1955546"/>
            <a:ext cx="11316766" cy="42452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10992866" y="6441173"/>
            <a:ext cx="64775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defRPr sz="9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r>
              <a:rPr lang="de-DE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ite </a:t>
            </a:r>
            <a:fld id="{1A869862-40F2-4075-AC8C-3AD961A155A6}" type="slidenum">
              <a:rPr lang="de-DE" b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Nr.›</a:t>
            </a:fld>
            <a:endParaRPr lang="de-DE" b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FFB6D63-B157-AB1A-85BD-9CF2573A7D5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23651" y="329272"/>
            <a:ext cx="916965" cy="358812"/>
          </a:xfrm>
          <a:prstGeom prst="rect">
            <a:avLst/>
          </a:prstGeom>
        </p:spPr>
      </p:pic>
      <p:pic>
        <p:nvPicPr>
          <p:cNvPr id="12" name="Grafik 11" descr="Ein Bild, das Grafiken, Farbigkeit, Grafikdesign, Screenshot enthält.&#10;&#10;Automatisch generierte Beschreibung">
            <a:extLst>
              <a:ext uri="{FF2B5EF4-FFF2-40B4-BE49-F238E27FC236}">
                <a16:creationId xmlns:a16="http://schemas.microsoft.com/office/drawing/2014/main" id="{33E32A54-8B1B-CD72-2424-BAED19CB155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192" y="281666"/>
            <a:ext cx="936104" cy="52578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D3368BA-4D64-A2DF-2F62-9BC05A8EA0AC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5480" y="288000"/>
            <a:ext cx="1148223" cy="558953"/>
          </a:xfrm>
          <a:prstGeom prst="rect">
            <a:avLst/>
          </a:prstGeom>
        </p:spPr>
      </p:pic>
      <p:pic>
        <p:nvPicPr>
          <p:cNvPr id="28" name="Grafik 27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D0598CD8-71A0-C14C-CD8A-74FABFEDD2CC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6000" y="252000"/>
            <a:ext cx="135062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592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659" r:id="rId4"/>
    <p:sldLayoutId id="2147483654" r:id="rId5"/>
    <p:sldLayoutId id="2147483660" r:id="rId6"/>
    <p:sldLayoutId id="2147483661" r:id="rId7"/>
    <p:sldLayoutId id="2147483655" r:id="rId8"/>
    <p:sldLayoutId id="2147483656" r:id="rId9"/>
    <p:sldLayoutId id="2147483657" r:id="rId1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 cap="all" baseline="0">
          <a:solidFill>
            <a:srgbClr val="541AAC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176213" indent="-176213" algn="l" defTabSz="914400" rtl="0" eaLnBrk="1" latinLnBrk="0" hangingPunct="1">
        <a:lnSpc>
          <a:spcPct val="112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0363" indent="-184150" algn="l" defTabSz="914400" rtl="0" eaLnBrk="1" latinLnBrk="0" hangingPunct="1">
        <a:lnSpc>
          <a:spcPct val="112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4988" indent="-174625" algn="l" defTabSz="914400" rtl="0" eaLnBrk="1" latinLnBrk="0" hangingPunct="1">
        <a:lnSpc>
          <a:spcPct val="112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20725" indent="-185738" algn="l" defTabSz="914400" rtl="0" eaLnBrk="1" latinLnBrk="0" hangingPunct="1">
        <a:lnSpc>
          <a:spcPct val="112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5350" indent="-174625" algn="l" defTabSz="914400" rtl="0" eaLnBrk="1" latinLnBrk="0" hangingPunct="1">
        <a:lnSpc>
          <a:spcPct val="112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769B6A7-6EEB-44A8-AF6D-1CEDDC81E2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9575265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47" imgH="348" progId="TCLayout.ActiveDocument.1">
                  <p:embed/>
                </p:oleObj>
              </mc:Choice>
              <mc:Fallback>
                <p:oleObj name="think-cell Folie" r:id="rId1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769B6A7-6EEB-44A8-AF6D-1CEDDC81E2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95468" y="1214438"/>
            <a:ext cx="10561173" cy="516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marL="742950" lvl="1" indent="-28575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de-DE"/>
              <a:t>Zweite Ebene</a:t>
            </a:r>
          </a:p>
          <a:p>
            <a:pPr marL="1143000" lvl="2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de-DE"/>
              <a:t>Dritte Ebene</a:t>
            </a:r>
          </a:p>
          <a:p>
            <a:pPr marL="1600200" lvl="3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de-DE"/>
              <a:t>Vierte Ebene</a:t>
            </a:r>
          </a:p>
          <a:p>
            <a:pPr marL="2057400" lvl="4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de-DE"/>
              <a:t>Fünfte Ebene</a:t>
            </a: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0" y="0"/>
            <a:ext cx="11906251" cy="1143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20000"/>
              </a:spcBef>
              <a:buFontTx/>
              <a:buChar char="•"/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0" y="0"/>
            <a:ext cx="12192000" cy="1143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20000"/>
              </a:spcBef>
              <a:buFontTx/>
              <a:buChar char="•"/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0" y="0"/>
            <a:ext cx="12192000" cy="1143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20000"/>
              </a:spcBef>
              <a:buFontTx/>
              <a:buChar char="•"/>
              <a:defRPr/>
            </a:pPr>
            <a:endParaRPr lang="de-DE"/>
          </a:p>
        </p:txBody>
      </p:sp>
      <p:pic>
        <p:nvPicPr>
          <p:cNvPr id="13" name="Picture 4" descr="K:\Forschung\Formatvorlagen\Logos\neu\DKI-Logo_4c.png">
            <a:extLst>
              <a:ext uri="{FF2B5EF4-FFF2-40B4-BE49-F238E27FC236}">
                <a16:creationId xmlns:a16="http://schemas.microsoft.com/office/drawing/2014/main" id="{C42FC292-E3A9-4DC5-B8E8-8E70E47FFF1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r="60372" b="7412"/>
          <a:stretch/>
        </p:blipFill>
        <p:spPr bwMode="auto">
          <a:xfrm>
            <a:off x="10921554" y="116632"/>
            <a:ext cx="935087" cy="4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A79C825E-1413-48C2-81E6-FE0C300E0D0E}"/>
              </a:ext>
            </a:extLst>
          </p:cNvPr>
          <p:cNvSpPr/>
          <p:nvPr userDrawn="1"/>
        </p:nvSpPr>
        <p:spPr bwMode="auto">
          <a:xfrm>
            <a:off x="10896533" y="6453336"/>
            <a:ext cx="1295467" cy="288000"/>
          </a:xfrm>
          <a:prstGeom prst="rect">
            <a:avLst/>
          </a:prstGeom>
          <a:solidFill>
            <a:srgbClr val="ECEDE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F73A2C4-DB8C-4CF7-9966-D85F2BADE692}"/>
              </a:ext>
            </a:extLst>
          </p:cNvPr>
          <p:cNvSpPr/>
          <p:nvPr userDrawn="1"/>
        </p:nvSpPr>
        <p:spPr>
          <a:xfrm>
            <a:off x="11142052" y="6443448"/>
            <a:ext cx="51764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2AE2E79B-88B7-4205-A6CC-D3C7687B455F}" type="slidenum">
              <a:rPr lang="de-DE" sz="1400" b="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pPr/>
              <a:t>‹Nr.›</a:t>
            </a:fld>
            <a:endParaRPr lang="de-DE" sz="1400">
              <a:latin typeface="+mn-lt"/>
            </a:endParaRPr>
          </a:p>
        </p:txBody>
      </p:sp>
      <p:sp>
        <p:nvSpPr>
          <p:cNvPr id="15" name="Textfeld 6">
            <a:extLst>
              <a:ext uri="{FF2B5EF4-FFF2-40B4-BE49-F238E27FC236}">
                <a16:creationId xmlns:a16="http://schemas.microsoft.com/office/drawing/2014/main" id="{74B82332-0CAF-4B25-AB01-E91302A65CFA}"/>
              </a:ext>
            </a:extLst>
          </p:cNvPr>
          <p:cNvSpPr txBox="1"/>
          <p:nvPr userDrawn="1"/>
        </p:nvSpPr>
        <p:spPr>
          <a:xfrm>
            <a:off x="239184" y="6593738"/>
            <a:ext cx="3840757" cy="291647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>
                <a:latin typeface="Myriad Pro Light" panose="020B0403030403020204" pitchFamily="34" charset="0"/>
              </a:rPr>
              <a:t>© DEUTSCHES KRANKENHAUSINSTITUT 2021</a:t>
            </a:r>
          </a:p>
        </p:txBody>
      </p:sp>
    </p:spTree>
    <p:extLst>
      <p:ext uri="{BB962C8B-B14F-4D97-AF65-F5344CB8AC3E}">
        <p14:creationId xmlns:p14="http://schemas.microsoft.com/office/powerpoint/2010/main" val="1432784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</p:sldLayoutIdLst>
  <p:transition>
    <p:wipe dir="r"/>
  </p:transition>
  <p:hf sldNum="0" hdr="0" ftr="0" dt="0"/>
  <p:txStyles>
    <p:titleStyle>
      <a:lvl1pPr algn="l" rtl="0" eaLnBrk="1" fontAlgn="base" hangingPunct="1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ts val="120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50000"/>
        </a:spcBef>
        <a:spcAft>
          <a:spcPct val="0"/>
        </a:spcAft>
        <a:buClr>
          <a:schemeClr val="tx1">
            <a:lumMod val="75000"/>
          </a:schemeClr>
        </a:buClr>
        <a:buFont typeface="Wingdings" pitchFamily="2" charset="2"/>
        <a:buChar char="§"/>
        <a:defRPr lang="de-DE" sz="2400" b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50000"/>
        </a:spcBef>
        <a:spcAft>
          <a:spcPct val="0"/>
        </a:spcAft>
        <a:buClr>
          <a:schemeClr val="tx1">
            <a:lumMod val="75000"/>
          </a:schemeClr>
        </a:buClr>
        <a:buFont typeface="Wingdings" pitchFamily="2" charset="2"/>
        <a:buChar char="§"/>
        <a:defRPr lang="de-DE" sz="2000" b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50000"/>
        </a:spcBef>
        <a:spcAft>
          <a:spcPct val="0"/>
        </a:spcAft>
        <a:buClr>
          <a:schemeClr val="tx1">
            <a:lumMod val="75000"/>
          </a:schemeClr>
        </a:buClr>
        <a:buFont typeface="Wingdings" pitchFamily="2" charset="2"/>
        <a:buChar char="§"/>
        <a:defRPr lang="de-DE" sz="1800" b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50000"/>
        </a:spcBef>
        <a:spcAft>
          <a:spcPct val="0"/>
        </a:spcAft>
        <a:buClr>
          <a:schemeClr val="tx1">
            <a:lumMod val="75000"/>
          </a:schemeClr>
        </a:buClr>
        <a:buFont typeface="Wingdings" pitchFamily="2" charset="2"/>
        <a:buChar char="§"/>
        <a:defRPr lang="de-DE" sz="1600" b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50000"/>
        </a:spcBef>
        <a:spcAft>
          <a:spcPct val="0"/>
        </a:spcAft>
        <a:buClr>
          <a:schemeClr val="tx1">
            <a:lumMod val="75000"/>
          </a:schemeClr>
        </a:buClr>
        <a:buFont typeface="Wingdings" pitchFamily="2" charset="2"/>
        <a:buChar char="§"/>
        <a:defRPr lang="de-DE" sz="1400" b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fontAlgn="base" hangingPunct="1">
        <a:spcBef>
          <a:spcPct val="50000"/>
        </a:spcBef>
        <a:spcAft>
          <a:spcPct val="0"/>
        </a:spcAft>
        <a:buChar char="-"/>
        <a:defRPr sz="2000" b="1">
          <a:solidFill>
            <a:srgbClr val="333399"/>
          </a:solidFill>
          <a:latin typeface="+mn-lt"/>
        </a:defRPr>
      </a:lvl6pPr>
      <a:lvl7pPr marL="2971800" indent="-228600" algn="l" rtl="0" eaLnBrk="1" fontAlgn="base" hangingPunct="1">
        <a:spcBef>
          <a:spcPct val="50000"/>
        </a:spcBef>
        <a:spcAft>
          <a:spcPct val="0"/>
        </a:spcAft>
        <a:buChar char="-"/>
        <a:defRPr sz="2000" b="1">
          <a:solidFill>
            <a:srgbClr val="333399"/>
          </a:solidFill>
          <a:latin typeface="+mn-lt"/>
        </a:defRPr>
      </a:lvl7pPr>
      <a:lvl8pPr marL="3429000" indent="-228600" algn="l" rtl="0" eaLnBrk="1" fontAlgn="base" hangingPunct="1">
        <a:spcBef>
          <a:spcPct val="50000"/>
        </a:spcBef>
        <a:spcAft>
          <a:spcPct val="0"/>
        </a:spcAft>
        <a:buChar char="-"/>
        <a:defRPr sz="2000" b="1">
          <a:solidFill>
            <a:srgbClr val="333399"/>
          </a:solidFill>
          <a:latin typeface="+mn-lt"/>
        </a:defRPr>
      </a:lvl8pPr>
      <a:lvl9pPr marL="3886200" indent="-228600" algn="l" rtl="0" eaLnBrk="1" fontAlgn="base" hangingPunct="1">
        <a:spcBef>
          <a:spcPct val="50000"/>
        </a:spcBef>
        <a:spcAft>
          <a:spcPct val="0"/>
        </a:spcAft>
        <a:buChar char="-"/>
        <a:defRPr sz="2000" b="1">
          <a:solidFill>
            <a:srgbClr val="333399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1A4C1B4-3401-49DD-A787-BCA3F8D79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76544"/>
            <a:ext cx="10515600" cy="714144"/>
          </a:xfrm>
          <a:prstGeom prst="rect">
            <a:avLst/>
          </a:prstGeom>
          <a:solidFill>
            <a:srgbClr val="003399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C9F60C-C70B-4714-8D7F-9EE01BEB67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E0F7DFF-DD63-4D26-BB44-6D4EA888DC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11.02.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EFCFFD-2C03-461C-9A59-596034AC6E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6ADC8E-32FB-4FB5-AEDC-F7D8B56AB0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8C06E5-F985-46D0-B02E-21C6F8C0DDE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D2040A13-CDB0-49F3-94B6-BFD9D995D2E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1"/>
            <a:ext cx="1376314" cy="75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072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Corbel Light" panose="020B03030202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1CD9A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orbel Light" panose="020B03030202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CD9A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 Light" panose="020B03030202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CD9A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orbel Light" panose="020B03030202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CD9A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 Light" panose="020B03030202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CD9A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orbel Light" panose="020B03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platzhalter 1"/>
          <p:cNvSpPr>
            <a:spLocks noGrp="1"/>
          </p:cNvSpPr>
          <p:nvPr>
            <p:ph type="title"/>
          </p:nvPr>
        </p:nvSpPr>
        <p:spPr>
          <a:xfrm>
            <a:off x="323850" y="1343546"/>
            <a:ext cx="11316766" cy="61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"/>
          </p:nvPr>
        </p:nvSpPr>
        <p:spPr>
          <a:xfrm>
            <a:off x="323850" y="1955546"/>
            <a:ext cx="11316766" cy="42452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10992866" y="6441173"/>
            <a:ext cx="64775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defRPr sz="9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r>
              <a:rPr lang="de-DE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ite </a:t>
            </a:r>
            <a:fld id="{1A869862-40F2-4075-AC8C-3AD961A155A6}" type="slidenum">
              <a:rPr lang="de-DE" b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Nr.›</a:t>
            </a:fld>
            <a:endParaRPr lang="de-DE" b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FFB6D63-B157-AB1A-85BD-9CF2573A7D5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23651" y="329272"/>
            <a:ext cx="916965" cy="358812"/>
          </a:xfrm>
          <a:prstGeom prst="rect">
            <a:avLst/>
          </a:prstGeom>
        </p:spPr>
      </p:pic>
      <p:pic>
        <p:nvPicPr>
          <p:cNvPr id="12" name="Grafik 11" descr="Ein Bild, das Grafiken, Farbigkeit, Grafikdesign, Screenshot enthält.&#10;&#10;Automatisch generierte Beschreibung">
            <a:extLst>
              <a:ext uri="{FF2B5EF4-FFF2-40B4-BE49-F238E27FC236}">
                <a16:creationId xmlns:a16="http://schemas.microsoft.com/office/drawing/2014/main" id="{33E32A54-8B1B-CD72-2424-BAED19CB155D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192" y="281666"/>
            <a:ext cx="936104" cy="52578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D3368BA-4D64-A2DF-2F62-9BC05A8EA0AC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5480" y="288000"/>
            <a:ext cx="1148223" cy="558953"/>
          </a:xfrm>
          <a:prstGeom prst="rect">
            <a:avLst/>
          </a:prstGeom>
        </p:spPr>
      </p:pic>
      <p:pic>
        <p:nvPicPr>
          <p:cNvPr id="28" name="Grafik 27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D0598CD8-71A0-C14C-CD8A-74FABFEDD2CC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6000" y="252000"/>
            <a:ext cx="135062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574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6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 cap="all" baseline="0">
          <a:solidFill>
            <a:srgbClr val="541AAC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176213" indent="-176213" algn="l" defTabSz="914400" rtl="0" eaLnBrk="1" latinLnBrk="0" hangingPunct="1">
        <a:lnSpc>
          <a:spcPct val="112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0363" indent="-184150" algn="l" defTabSz="914400" rtl="0" eaLnBrk="1" latinLnBrk="0" hangingPunct="1">
        <a:lnSpc>
          <a:spcPct val="112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4988" indent="-174625" algn="l" defTabSz="914400" rtl="0" eaLnBrk="1" latinLnBrk="0" hangingPunct="1">
        <a:lnSpc>
          <a:spcPct val="112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20725" indent="-185738" algn="l" defTabSz="914400" rtl="0" eaLnBrk="1" latinLnBrk="0" hangingPunct="1">
        <a:lnSpc>
          <a:spcPct val="112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5350" indent="-174625" algn="l" defTabSz="914400" rtl="0" eaLnBrk="1" latinLnBrk="0" hangingPunct="1">
        <a:lnSpc>
          <a:spcPct val="112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8E3549-5DF0-46A2-86AE-11A5ECCCCC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1424" y="3528778"/>
            <a:ext cx="9937104" cy="1034880"/>
          </a:xfrm>
        </p:spPr>
        <p:txBody>
          <a:bodyPr/>
          <a:lstStyle/>
          <a:p>
            <a:r>
              <a:rPr lang="de-DE" sz="3200"/>
              <a:t>Herzlich willkomme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ED5F2C48-EA25-451D-76B0-16D0710793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1504" y="4046218"/>
            <a:ext cx="9217024" cy="1862647"/>
          </a:xfrm>
        </p:spPr>
        <p:txBody>
          <a:bodyPr/>
          <a:lstStyle/>
          <a:p>
            <a:endParaRPr lang="de-DE" sz="1800"/>
          </a:p>
          <a:p>
            <a:r>
              <a:rPr lang="de-DE" sz="2400"/>
              <a:t>4. Beiratssitzung Projekt </a:t>
            </a:r>
            <a:r>
              <a:rPr lang="de-DE" sz="2400" err="1"/>
              <a:t>LeKoK</a:t>
            </a:r>
            <a:r>
              <a:rPr lang="de-DE" sz="24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150485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2FC2CF-1F38-0FD6-E161-28E2AB2851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Text, Screenshot, Schrift, Poster enthält.&#10;&#10;KI-generierte Inhalte können fehlerhaft sein.">
            <a:extLst>
              <a:ext uri="{FF2B5EF4-FFF2-40B4-BE49-F238E27FC236}">
                <a16:creationId xmlns:a16="http://schemas.microsoft.com/office/drawing/2014/main" id="{427AC894-ABC5-1903-043F-B6672B0687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245" y="1122983"/>
            <a:ext cx="9795510" cy="5193175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D6096407-A2FA-0D4B-9F71-B257672BDBCC}"/>
              </a:ext>
            </a:extLst>
          </p:cNvPr>
          <p:cNvSpPr txBox="1"/>
          <p:nvPr/>
        </p:nvSpPr>
        <p:spPr>
          <a:xfrm>
            <a:off x="1093695" y="6316158"/>
            <a:ext cx="21967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Erstellt mit Google </a:t>
            </a:r>
            <a:r>
              <a:rPr lang="de-DE" sz="1200" dirty="0" err="1"/>
              <a:t>NotebookLM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6861971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702566-5859-2316-382D-AE3687E314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D3464F-9800-D894-877D-32BA16438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 Black"/>
              </a:rPr>
              <a:t>Diskussion und Impulse zu den </a:t>
            </a:r>
            <a:r>
              <a:rPr lang="de-DE" err="1">
                <a:latin typeface="Arial Black"/>
              </a:rPr>
              <a:t>zukunftsvisionen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88442A-F5BF-D55B-3C39-D0BAF91FA0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de-DE"/>
          </a:p>
          <a:p>
            <a:pPr>
              <a:buFont typeface="Arial" panose="020B0604020202020204" pitchFamily="34" charset="0"/>
              <a:buChar char="•"/>
            </a:pPr>
            <a:endParaRPr lang="de-DE"/>
          </a:p>
          <a:p>
            <a:pPr>
              <a:buFont typeface="Arial" panose="020B0604020202020204" pitchFamily="34" charset="0"/>
              <a:buChar char="•"/>
            </a:pPr>
            <a:endParaRPr lang="de-DE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/>
          </a:p>
          <a:p>
            <a:pPr>
              <a:buFont typeface="Arial" panose="020B0604020202020204" pitchFamily="34" charset="0"/>
              <a:buChar char="•"/>
            </a:pPr>
            <a:r>
              <a:rPr lang="de-DE"/>
              <a:t>Wie würden Sie die Change </a:t>
            </a:r>
            <a:r>
              <a:rPr lang="de-DE" err="1"/>
              <a:t>Agents</a:t>
            </a:r>
            <a:r>
              <a:rPr lang="de-DE"/>
              <a:t> in die </a:t>
            </a:r>
            <a:br>
              <a:rPr lang="de-DE"/>
            </a:br>
            <a:r>
              <a:rPr lang="de-DE"/>
              <a:t>Krankenhausorganisation integrieren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/>
              <a:t>Welche Empfehlungen würden Sie uns mit Blick </a:t>
            </a:r>
            <a:br>
              <a:rPr lang="de-DE"/>
            </a:br>
            <a:r>
              <a:rPr lang="de-DE"/>
              <a:t>auf das weitere Vorgehen geben?</a:t>
            </a:r>
          </a:p>
          <a:p>
            <a:pPr>
              <a:buFont typeface="Arial" panose="020B0604020202020204" pitchFamily="34" charset="0"/>
              <a:buChar char="•"/>
            </a:pPr>
            <a:endParaRPr lang="de-DE"/>
          </a:p>
        </p:txBody>
      </p:sp>
      <p:pic>
        <p:nvPicPr>
          <p:cNvPr id="4" name="Picture 3" descr="Personen, die an Ideen arbeiten">
            <a:extLst>
              <a:ext uri="{FF2B5EF4-FFF2-40B4-BE49-F238E27FC236}">
                <a16:creationId xmlns:a16="http://schemas.microsoft.com/office/drawing/2014/main" id="{254150BD-3403-54B9-29ED-486D40FDAD4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901" r="21890" b="2"/>
          <a:stretch>
            <a:fillRect/>
          </a:stretch>
        </p:blipFill>
        <p:spPr>
          <a:xfrm>
            <a:off x="6278229" y="2681849"/>
            <a:ext cx="4735514" cy="301375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495631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EAC22-A8DE-0B14-02C9-B419EA38D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DB6D17-B81D-437D-C9C7-06BACDDAB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301" y="1360805"/>
            <a:ext cx="11328400" cy="789310"/>
          </a:xfrm>
        </p:spPr>
        <p:txBody>
          <a:bodyPr/>
          <a:lstStyle/>
          <a:p>
            <a:r>
              <a:rPr lang="de-DE" err="1">
                <a:latin typeface="Arial Black"/>
              </a:rPr>
              <a:t>BedarfsanalyseN</a:t>
            </a:r>
            <a:r>
              <a:rPr lang="de-DE">
                <a:latin typeface="Arial Black"/>
              </a:rPr>
              <a:t> </a:t>
            </a:r>
            <a:br>
              <a:rPr lang="de-DE"/>
            </a:br>
            <a:endParaRPr lang="de-DE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BA5C46E-D654-5C06-934C-2084D3A653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1672045"/>
              </p:ext>
            </p:extLst>
          </p:nvPr>
        </p:nvGraphicFramePr>
        <p:xfrm>
          <a:off x="568960" y="2154936"/>
          <a:ext cx="4378956" cy="36716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5919">
                  <a:extLst>
                    <a:ext uri="{9D8B030D-6E8A-4147-A177-3AD203B41FA5}">
                      <a16:colId xmlns:a16="http://schemas.microsoft.com/office/drawing/2014/main" val="3687223151"/>
                    </a:ext>
                  </a:extLst>
                </a:gridCol>
                <a:gridCol w="1463037">
                  <a:extLst>
                    <a:ext uri="{9D8B030D-6E8A-4147-A177-3AD203B41FA5}">
                      <a16:colId xmlns:a16="http://schemas.microsoft.com/office/drawing/2014/main" val="733912510"/>
                    </a:ext>
                  </a:extLst>
                </a:gridCol>
              </a:tblGrid>
              <a:tr h="734331">
                <a:tc gridSpan="2">
                  <a:txBody>
                    <a:bodyPr/>
                    <a:lstStyle/>
                    <a:p>
                      <a:r>
                        <a:rPr lang="en-US" sz="2200">
                          <a:solidFill>
                            <a:srgbClr val="541AAC"/>
                          </a:solidFill>
                        </a:rPr>
                        <a:t>Stand der </a:t>
                      </a:r>
                      <a:r>
                        <a:rPr lang="en-US" sz="2200" err="1">
                          <a:solidFill>
                            <a:srgbClr val="541AAC"/>
                          </a:solidFill>
                        </a:rPr>
                        <a:t>Bedarfsanalysen</a:t>
                      </a:r>
                    </a:p>
                  </a:txBody>
                  <a:tcPr anchor="ctr">
                    <a:solidFill>
                      <a:srgbClr val="01CB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01CB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314794"/>
                  </a:ext>
                </a:extLst>
              </a:tr>
              <a:tr h="734331">
                <a:tc>
                  <a:txBody>
                    <a:bodyPr/>
                    <a:lstStyle/>
                    <a:p>
                      <a:r>
                        <a:rPr lang="en-US" err="1"/>
                        <a:t>Durchgefüh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1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33925413"/>
                  </a:ext>
                </a:extLst>
              </a:tr>
              <a:tr h="734331">
                <a:tc>
                  <a:txBody>
                    <a:bodyPr/>
                    <a:lstStyle/>
                    <a:p>
                      <a:r>
                        <a:rPr lang="en-US" err="1"/>
                        <a:t>Begonn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59578334"/>
                  </a:ext>
                </a:extLst>
              </a:tr>
              <a:tr h="734331">
                <a:tc>
                  <a:txBody>
                    <a:bodyPr/>
                    <a:lstStyle/>
                    <a:p>
                      <a:r>
                        <a:rPr lang="en-US" err="1"/>
                        <a:t>Angefra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3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68199034"/>
                  </a:ext>
                </a:extLst>
              </a:tr>
              <a:tr h="734331">
                <a:tc>
                  <a:txBody>
                    <a:bodyPr/>
                    <a:lstStyle/>
                    <a:p>
                      <a:r>
                        <a:rPr lang="en-US" err="1"/>
                        <a:t>Abgeleh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68999616"/>
                  </a:ext>
                </a:extLst>
              </a:tr>
            </a:tbl>
          </a:graphicData>
        </a:graphic>
      </p:graphicFrame>
      <p:sp>
        <p:nvSpPr>
          <p:cNvPr id="12" name="Inhaltsplatzhalter 8">
            <a:extLst>
              <a:ext uri="{FF2B5EF4-FFF2-40B4-BE49-F238E27FC236}">
                <a16:creationId xmlns:a16="http://schemas.microsoft.com/office/drawing/2014/main" id="{32BA6398-CA9D-1442-2921-A5EA164171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1447" y="2231034"/>
            <a:ext cx="6045723" cy="3671212"/>
          </a:xfrm>
        </p:spPr>
        <p:txBody>
          <a:bodyPr/>
          <a:lstStyle/>
          <a:p>
            <a:pPr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kern="100" dirty="0">
                <a:latin typeface="Arial"/>
                <a:ea typeface="Aptos" panose="020B0004020202020204" pitchFamily="34" charset="0"/>
                <a:cs typeface="Arial"/>
              </a:rPr>
              <a:t>Durchschnitt ca. 10 Teilnehmende (min. 5; max. 22) </a:t>
            </a:r>
            <a:br>
              <a:rPr lang="de-DE" kern="100" dirty="0">
                <a:latin typeface="Arial"/>
                <a:ea typeface="Aptos" panose="020B0004020202020204" pitchFamily="34" charset="0"/>
                <a:cs typeface="Arial"/>
              </a:rPr>
            </a:br>
            <a:r>
              <a:rPr lang="de-DE" kern="100" dirty="0">
                <a:latin typeface="Arial"/>
                <a:ea typeface="Aptos" panose="020B0004020202020204" pitchFamily="34" charset="0"/>
                <a:cs typeface="Arial"/>
                <a:sym typeface="Wingdings" panose="05000000000000000000" pitchFamily="2" charset="2"/>
              </a:rPr>
              <a:t></a:t>
            </a:r>
            <a:r>
              <a:rPr lang="de-DE" kern="100" dirty="0">
                <a:latin typeface="Arial"/>
                <a:ea typeface="Aptos" panose="020B0004020202020204" pitchFamily="34" charset="0"/>
                <a:cs typeface="Arial"/>
              </a:rPr>
              <a:t> etwa 180 Mitarbeitende wurden begleitet</a:t>
            </a:r>
            <a:endParaRPr lang="de-DE" kern="100" dirty="0">
              <a:effectLst/>
              <a:latin typeface="Arial"/>
              <a:ea typeface="Aptos" panose="020B0004020202020204" pitchFamily="34" charset="0"/>
              <a:cs typeface="Arial"/>
            </a:endParaRPr>
          </a:p>
          <a:p>
            <a:pPr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kern="100" dirty="0">
                <a:latin typeface="Arial"/>
                <a:ea typeface="Aptos" panose="020B0004020202020204" pitchFamily="34" charset="0"/>
                <a:cs typeface="Arial"/>
              </a:rPr>
              <a:t>Orte: Meist Stationen, aber auch übergreifend und Funktions-/Supportbereiche</a:t>
            </a:r>
          </a:p>
          <a:p>
            <a:pPr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kern="100" dirty="0">
                <a:latin typeface="Arial"/>
                <a:ea typeface="Aptos" panose="020B0004020202020204" pitchFamily="34" charset="0"/>
                <a:cs typeface="Arial"/>
              </a:rPr>
              <a:t>Breites Themenfeld: Kommunikation, Zusammenarbeit,</a:t>
            </a:r>
            <a:r>
              <a:rPr lang="de-DE" dirty="0"/>
              <a:t> Fachübergreifende Koordination, Terminmanagement, </a:t>
            </a:r>
            <a:r>
              <a:rPr lang="de-DE" kern="100" dirty="0">
                <a:latin typeface="Arial"/>
                <a:ea typeface="Aptos" panose="020B0004020202020204" pitchFamily="34" charset="0"/>
                <a:cs typeface="Arial"/>
              </a:rPr>
              <a:t> Personalentwicklung, Erschöpfung / Überlastung, Aufräumen als Teamverantwortung,...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de-DE" sz="1600" kern="100" dirty="0">
              <a:latin typeface="Arial"/>
              <a:ea typeface="Aptos" panose="020B0004020202020204" pitchFamily="34" charset="0"/>
              <a:cs typeface="Arial"/>
            </a:endParaRPr>
          </a:p>
          <a:p>
            <a:pPr marL="342900" lvl="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de-DE" sz="20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23063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BE6834-118A-118D-9F70-FC1B14C2D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E7AFBFBC-A3A5-71CB-6D79-71EFF2C0E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3034345"/>
            <a:ext cx="4224040" cy="789310"/>
          </a:xfrm>
        </p:spPr>
        <p:txBody>
          <a:bodyPr anchor="t">
            <a:normAutofit/>
          </a:bodyPr>
          <a:lstStyle/>
          <a:p>
            <a:r>
              <a:rPr lang="de-DE" dirty="0"/>
              <a:t>Konzept Lernwerkstatt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01065EC9-F8BE-D757-6EF5-5121AD852A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647728" y="924410"/>
            <a:ext cx="8204790" cy="54356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731959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AF7B0FB9-8421-F4F8-E97C-EB0AFB170C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43546"/>
            <a:ext cx="11328400" cy="789310"/>
          </a:xfrm>
        </p:spPr>
        <p:txBody>
          <a:bodyPr anchor="t">
            <a:normAutofit/>
          </a:bodyPr>
          <a:lstStyle/>
          <a:p>
            <a:r>
              <a:rPr lang="de-DE"/>
              <a:t>Grundlagen der Lernwerkstatt</a:t>
            </a:r>
          </a:p>
        </p:txBody>
      </p:sp>
      <p:sp>
        <p:nvSpPr>
          <p:cNvPr id="16" name="Inhaltsplatzhalter 9">
            <a:extLst>
              <a:ext uri="{FF2B5EF4-FFF2-40B4-BE49-F238E27FC236}">
                <a16:creationId xmlns:a16="http://schemas.microsoft.com/office/drawing/2014/main" id="{F0240D14-1F75-456D-B74F-2E7444141E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2751852"/>
            <a:ext cx="5334414" cy="3296315"/>
          </a:xfrm>
        </p:spPr>
        <p:txBody>
          <a:bodyPr anchor="t">
            <a:normAutofit/>
          </a:bodyPr>
          <a:lstStyle/>
          <a:p>
            <a:pPr>
              <a:lnSpc>
                <a:spcPct val="102000"/>
              </a:lnSpc>
              <a:spcAft>
                <a:spcPts val="600"/>
              </a:spcAft>
            </a:pPr>
            <a:r>
              <a:rPr lang="de-DE" b="1" cap="all">
                <a:solidFill>
                  <a:srgbClr val="541AAC"/>
                </a:solidFill>
                <a:latin typeface="Arial Black" panose="020B0604020202020204" pitchFamily="34" charset="0"/>
                <a:ea typeface="+mj-ea"/>
                <a:cs typeface="+mn-cs"/>
              </a:rPr>
              <a:t>Inhalte und Methoden basieren auf</a:t>
            </a:r>
            <a:br>
              <a:rPr lang="de-DE" b="1" cap="all">
                <a:solidFill>
                  <a:srgbClr val="541AAC"/>
                </a:solidFill>
                <a:latin typeface="Arial Black" panose="020B0604020202020204" pitchFamily="34" charset="0"/>
                <a:ea typeface="+mj-ea"/>
                <a:cs typeface="+mn-cs"/>
              </a:rPr>
            </a:br>
            <a:endParaRPr lang="de-DE" b="1" cap="all">
              <a:solidFill>
                <a:srgbClr val="541AAC"/>
              </a:solidFill>
              <a:latin typeface="Arial Black" panose="020B0604020202020204" pitchFamily="34" charset="0"/>
              <a:ea typeface="+mj-ea"/>
              <a:cs typeface="+mn-cs"/>
            </a:endParaRPr>
          </a:p>
          <a:p>
            <a:pPr marL="461963" lvl="1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800"/>
              <a:t>aktuellen Bedarfen und Herausforderungen   der Teams / Teambedarfsanalysen</a:t>
            </a:r>
          </a:p>
          <a:p>
            <a:pPr marL="461963" lvl="1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800"/>
              <a:t>spezifischen (multiprofessionellen) Teamdynamiken</a:t>
            </a:r>
          </a:p>
          <a:p>
            <a:pPr marL="461963" lvl="1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800"/>
              <a:t>organisationalen Veränderungsprozessen </a:t>
            </a:r>
            <a:br>
              <a:rPr lang="de-DE" sz="1800"/>
            </a:br>
            <a:r>
              <a:rPr lang="de-DE" sz="1800"/>
              <a:t>(z.B. Neubauten, Stations-/Abteilungszuschnitt, neue Versorgungsangebote, Digitalisierung)</a:t>
            </a:r>
          </a:p>
          <a:p>
            <a:pPr marL="0" indent="0">
              <a:lnSpc>
                <a:spcPct val="102000"/>
              </a:lnSpc>
              <a:spcAft>
                <a:spcPts val="600"/>
              </a:spcAft>
              <a:buNone/>
            </a:pPr>
            <a:endParaRPr lang="de-DE" sz="1500"/>
          </a:p>
        </p:txBody>
      </p:sp>
      <p:sp>
        <p:nvSpPr>
          <p:cNvPr id="2" name="Datumsplatzhalter 1" hidden="1">
            <a:extLst>
              <a:ext uri="{FF2B5EF4-FFF2-40B4-BE49-F238E27FC236}">
                <a16:creationId xmlns:a16="http://schemas.microsoft.com/office/drawing/2014/main" id="{33BBDCF5-E01F-F139-B7FC-335F624346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44405" y="6453336"/>
            <a:ext cx="1152128" cy="180000"/>
          </a:xfrm>
        </p:spPr>
        <p:txBody>
          <a:bodyPr anchor="t">
            <a:normAutofit lnSpcReduction="1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02.12.2025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AFA7867-E202-ECFE-EC5D-8D65EB7E591F}"/>
              </a:ext>
            </a:extLst>
          </p:cNvPr>
          <p:cNvSpPr txBox="1"/>
          <p:nvPr/>
        </p:nvSpPr>
        <p:spPr>
          <a:xfrm>
            <a:off x="6425788" y="2667757"/>
            <a:ext cx="5334415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de-DE" b="1" i="0" u="none" strike="noStrike" kern="1200" cap="all" spc="0" normalizeH="0" baseline="0" noProof="0">
                <a:ln>
                  <a:noFill/>
                </a:ln>
                <a:solidFill>
                  <a:srgbClr val="541AAC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Durchführung</a:t>
            </a:r>
          </a:p>
          <a:p>
            <a:endParaRPr lang="de-DE"/>
          </a:p>
          <a:p>
            <a:pPr marL="342900" indent="-342900">
              <a:spcAft>
                <a:spcPts val="600"/>
              </a:spcAft>
              <a:buClr>
                <a:srgbClr val="00DFD1"/>
              </a:buClr>
              <a:buFont typeface="Arial" panose="020B0604020202020204" pitchFamily="34" charset="0"/>
              <a:buChar char="•"/>
            </a:pPr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Teilnehmende: 12 Change </a:t>
            </a:r>
            <a:r>
              <a:rPr lang="de-DE" err="1">
                <a:latin typeface="Arial" panose="020B0604020202020204" pitchFamily="34" charset="0"/>
                <a:cs typeface="Arial" panose="020B0604020202020204" pitchFamily="34" charset="0"/>
              </a:rPr>
              <a:t>Agents</a:t>
            </a:r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600"/>
              </a:spcAft>
              <a:buClr>
                <a:srgbClr val="00DFD1"/>
              </a:buClr>
              <a:buFont typeface="Arial" panose="020B0604020202020204" pitchFamily="34" charset="0"/>
              <a:buChar char="•"/>
            </a:pPr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Bisher 7 Durchgänge à 3 Std., online, </a:t>
            </a:r>
            <a:br>
              <a:rPr lang="de-DE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weitere 7 Termine 2026</a:t>
            </a:r>
          </a:p>
          <a:p>
            <a:pPr marL="342900" indent="-342900">
              <a:spcAft>
                <a:spcPts val="600"/>
              </a:spcAft>
              <a:buClr>
                <a:srgbClr val="00DFD1"/>
              </a:buClr>
              <a:buFont typeface="Arial" panose="020B0604020202020204" pitchFamily="34" charset="0"/>
              <a:buChar char="•"/>
            </a:pPr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Begleitung und Moderation durch Projektmitarbeitende (PH, OK)</a:t>
            </a:r>
          </a:p>
          <a:p>
            <a:pPr marL="342900" indent="-342900">
              <a:spcAft>
                <a:spcPts val="600"/>
              </a:spcAft>
              <a:buClr>
                <a:srgbClr val="00DFD1"/>
              </a:buClr>
              <a:buFont typeface="Arial" panose="020B0604020202020204" pitchFamily="34" charset="0"/>
              <a:buChar char="•"/>
            </a:pPr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Weiterentwicklung der Lernwerkstatt zur Community of Practice</a:t>
            </a:r>
          </a:p>
          <a:p>
            <a:pPr marL="342900" indent="-342900">
              <a:spcAft>
                <a:spcPts val="600"/>
              </a:spcAft>
              <a:buClr>
                <a:srgbClr val="00DFD1"/>
              </a:buClr>
              <a:buFont typeface="Arial" panose="020B0604020202020204" pitchFamily="34" charset="0"/>
              <a:buChar char="•"/>
            </a:pPr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Schrittweise Übernahme durch Change </a:t>
            </a:r>
            <a:r>
              <a:rPr lang="de-DE" err="1">
                <a:latin typeface="Arial" panose="020B0604020202020204" pitchFamily="34" charset="0"/>
                <a:cs typeface="Arial" panose="020B0604020202020204" pitchFamily="34" charset="0"/>
              </a:rPr>
              <a:t>Agents</a:t>
            </a:r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600"/>
              </a:spcAft>
              <a:buClr>
                <a:srgbClr val="00DFD1"/>
              </a:buClr>
              <a:buFont typeface="Arial" panose="020B0604020202020204" pitchFamily="34" charset="0"/>
              <a:buChar char="•"/>
            </a:pPr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Verstetigung nach Projektende</a:t>
            </a:r>
            <a:endParaRPr lang="de-DE"/>
          </a:p>
        </p:txBody>
      </p:sp>
      <p:sp>
        <p:nvSpPr>
          <p:cNvPr id="3" name="Inhaltsplatzhalter 9">
            <a:extLst>
              <a:ext uri="{FF2B5EF4-FFF2-40B4-BE49-F238E27FC236}">
                <a16:creationId xmlns:a16="http://schemas.microsoft.com/office/drawing/2014/main" id="{5A9CA5F6-470F-92C5-1BB5-E602BCEC455A}"/>
              </a:ext>
            </a:extLst>
          </p:cNvPr>
          <p:cNvSpPr txBox="1">
            <a:spLocks/>
          </p:cNvSpPr>
          <p:nvPr/>
        </p:nvSpPr>
        <p:spPr>
          <a:xfrm>
            <a:off x="431800" y="1891370"/>
            <a:ext cx="11328400" cy="41510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buClr>
                <a:srgbClr val="00CBBD"/>
              </a:buClr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buClr>
                <a:srgbClr val="00CBBD"/>
              </a:buClr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363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buClr>
                <a:srgbClr val="00CBBD"/>
              </a:buClr>
              <a:buFontTx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4987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buClr>
                <a:srgbClr val="00CBBD"/>
              </a:buClr>
              <a:buFontTx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725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buClr>
                <a:srgbClr val="00CBBD"/>
              </a:buClr>
              <a:buFontTx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buClrTx/>
              <a:defRPr/>
            </a:pPr>
            <a:r>
              <a:rPr lang="de-DE" i="1"/>
              <a:t>Systemisch-konstruktivistisches Verständnis von Organisation, Zusammenarbeit, Teamentwicklung und Lernen </a:t>
            </a:r>
          </a:p>
          <a:p>
            <a:pPr>
              <a:lnSpc>
                <a:spcPct val="102000"/>
              </a:lnSpc>
              <a:spcAft>
                <a:spcPts val="600"/>
              </a:spcAft>
            </a:pPr>
            <a:endParaRPr lang="de-DE" sz="1500" i="1"/>
          </a:p>
        </p:txBody>
      </p:sp>
    </p:spTree>
    <p:extLst>
      <p:ext uri="{BB962C8B-B14F-4D97-AF65-F5344CB8AC3E}">
        <p14:creationId xmlns:p14="http://schemas.microsoft.com/office/powerpoint/2010/main" val="3920522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68F345-860E-DE77-F98E-2434B408B2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8593CC-14AA-BC4E-C93C-01EAEF9B9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rial Black"/>
              </a:rPr>
              <a:t>Diskussion und Impulse zu den </a:t>
            </a:r>
            <a:r>
              <a:rPr lang="de-DE" dirty="0" err="1">
                <a:latin typeface="Arial Black"/>
              </a:rPr>
              <a:t>bedarfsanalysen</a:t>
            </a:r>
            <a:r>
              <a:rPr lang="de-DE" dirty="0">
                <a:latin typeface="Arial Black"/>
              </a:rPr>
              <a:t> </a:t>
            </a:r>
            <a:br>
              <a:rPr lang="de-DE" dirty="0">
                <a:latin typeface="Arial Black"/>
              </a:rPr>
            </a:br>
            <a:r>
              <a:rPr lang="de-DE" dirty="0">
                <a:latin typeface="Arial Black"/>
              </a:rPr>
              <a:t>zur lernwerkstat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116AA9-E93A-E47F-C61C-83288175F2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2294405"/>
            <a:ext cx="5664200" cy="3906371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Wie ist Ihre erste Resonanz?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Welche Empfehlungen würden Sie uns mit Blick auf das weitere Vorgehen geben?</a:t>
            </a:r>
          </a:p>
        </p:txBody>
      </p:sp>
      <p:pic>
        <p:nvPicPr>
          <p:cNvPr id="4" name="Picture 3" descr="Personen, die an Ideen arbeiten">
            <a:extLst>
              <a:ext uri="{FF2B5EF4-FFF2-40B4-BE49-F238E27FC236}">
                <a16:creationId xmlns:a16="http://schemas.microsoft.com/office/drawing/2014/main" id="{D1EEC576-09C9-94CF-FA0B-C14977B4392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901" r="21890" b="2"/>
          <a:stretch>
            <a:fillRect/>
          </a:stretch>
        </p:blipFill>
        <p:spPr>
          <a:xfrm>
            <a:off x="6278229" y="2681849"/>
            <a:ext cx="4735514" cy="301375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846773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CC75E2A0-352B-28F7-6F5D-04E3FC2EE3DD}"/>
              </a:ext>
            </a:extLst>
          </p:cNvPr>
          <p:cNvSpPr txBox="1">
            <a:spLocks/>
          </p:cNvSpPr>
          <p:nvPr/>
        </p:nvSpPr>
        <p:spPr>
          <a:xfrm>
            <a:off x="431800" y="1191146"/>
            <a:ext cx="11328400" cy="64529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rgbClr val="541AAC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pPr marL="0" marR="0" lvl="0" indent="0" fontAlgn="auto">
              <a:spcAft>
                <a:spcPts val="600"/>
              </a:spcAft>
              <a:buClrTx/>
              <a:buSzTx/>
              <a:tabLst/>
              <a:defRPr/>
            </a:pPr>
            <a:r>
              <a:rPr kumimoji="0" lang="de-DE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latin typeface="Arial Black" panose="020B0604020202020204" pitchFamily="34" charset="0"/>
                <a:ea typeface="+mj-ea"/>
                <a:cs typeface="Arial Black" panose="020B0604020202020204" pitchFamily="34" charset="0"/>
              </a:rPr>
              <a:t>Entwurf: Lern- und Kompetenzarchitektur</a:t>
            </a:r>
          </a:p>
        </p:txBody>
      </p:sp>
      <p:pic>
        <p:nvPicPr>
          <p:cNvPr id="8" name="Grafik 7" descr="Ein Bild, das Text, Screenshot, Diagramm, Design enthält.&#10;&#10;KI-generierte Inhalte können fehlerhaft sein.">
            <a:extLst>
              <a:ext uri="{FF2B5EF4-FFF2-40B4-BE49-F238E27FC236}">
                <a16:creationId xmlns:a16="http://schemas.microsoft.com/office/drawing/2014/main" id="{4CC96C0B-060F-7470-82E9-CB5E3F0231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8904" y="1513793"/>
            <a:ext cx="5133925" cy="49542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604521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87FA92-8E9A-6044-EC1D-25B2F824CD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1C8AD6-CBE9-422A-DE79-9CF240F01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 Black"/>
              </a:rPr>
              <a:t>Diskussion und Impulse </a:t>
            </a:r>
            <a:r>
              <a:rPr lang="de-DE"/>
              <a:t>Lern- und Kompetenzarchitektu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2FC4D4-3741-AFA3-0020-8B0B9E010C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2294405"/>
            <a:ext cx="5664200" cy="3906371"/>
          </a:xfrm>
        </p:spPr>
        <p:txBody>
          <a:bodyPr/>
          <a:lstStyle/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>
              <a:buFont typeface="Arial" panose="020B0604020202020204" pitchFamily="34" charset="0"/>
              <a:buChar char="•"/>
            </a:pPr>
            <a:r>
              <a:rPr lang="de-DE"/>
              <a:t>Wie ist Ihre erste Resonanz?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/>
              <a:t>Welche Empfehlungen würden Sie uns mit Blick auf das weitere Vorgehen geben?</a:t>
            </a:r>
          </a:p>
        </p:txBody>
      </p:sp>
      <p:pic>
        <p:nvPicPr>
          <p:cNvPr id="4" name="Picture 3" descr="Personen, die an Ideen arbeiten">
            <a:extLst>
              <a:ext uri="{FF2B5EF4-FFF2-40B4-BE49-F238E27FC236}">
                <a16:creationId xmlns:a16="http://schemas.microsoft.com/office/drawing/2014/main" id="{A032104A-612D-70E8-32BA-82FFD118034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901" r="21890" b="2"/>
          <a:stretch>
            <a:fillRect/>
          </a:stretch>
        </p:blipFill>
        <p:spPr>
          <a:xfrm>
            <a:off x="6278229" y="2681849"/>
            <a:ext cx="4735514" cy="301375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170274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08A26-F697-B102-456A-28DDC1A8DD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BAF6B5D-91FF-D0D8-3719-EA20ACA97C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3419" y="2843720"/>
            <a:ext cx="7464829" cy="180000"/>
          </a:xfrm>
        </p:spPr>
        <p:txBody>
          <a:bodyPr/>
          <a:lstStyle/>
          <a:p>
            <a:r>
              <a:rPr lang="de-DE"/>
              <a:t>Transfer</a:t>
            </a:r>
          </a:p>
        </p:txBody>
      </p:sp>
    </p:spTree>
    <p:extLst>
      <p:ext uri="{BB962C8B-B14F-4D97-AF65-F5344CB8AC3E}">
        <p14:creationId xmlns:p14="http://schemas.microsoft.com/office/powerpoint/2010/main" val="4360174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84D0A8-3A46-2A16-F18E-C98BF5FA23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 Black"/>
              </a:rPr>
              <a:t>Transfer - durchgeführt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5A22C4D-EAC2-90C1-5620-6ADDD4FB8F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6021" y="1837206"/>
            <a:ext cx="10371054" cy="4539531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endParaRPr lang="de-DE" sz="2000" b="1" dirty="0">
              <a:solidFill>
                <a:srgbClr val="00B7A9"/>
              </a:solidFill>
            </a:endParaRPr>
          </a:p>
          <a:p>
            <a:pPr marL="175895" indent="-17589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Sep. 2025: Online-Infoveranstaltung mit CLINOTEL </a:t>
            </a:r>
          </a:p>
          <a:p>
            <a:pPr marL="175895" indent="-17589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latin typeface="Arial"/>
                <a:cs typeface="Arial"/>
              </a:rPr>
              <a:t>Okt. 2025: Präsenz-Workshop in Freiburg für Betriebs-/Personalräte mit ver.di</a:t>
            </a:r>
          </a:p>
          <a:p>
            <a:pPr marL="175895" indent="-17589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latin typeface="Arial"/>
                <a:cs typeface="Arial"/>
              </a:rPr>
              <a:t>Handreichung Bedarfsanalyse</a:t>
            </a:r>
          </a:p>
          <a:p>
            <a:pPr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latin typeface="Arial"/>
                <a:cs typeface="Arial"/>
              </a:rPr>
              <a:t>Beitrag </a:t>
            </a:r>
            <a:r>
              <a:rPr lang="de-DE" sz="2000" dirty="0" err="1">
                <a:latin typeface="Arial"/>
                <a:cs typeface="Arial"/>
              </a:rPr>
              <a:t>bwp</a:t>
            </a:r>
            <a:r>
              <a:rPr lang="de-DE" sz="2000" dirty="0">
                <a:latin typeface="Arial"/>
                <a:cs typeface="Arial"/>
              </a:rPr>
              <a:t>@-Format: Aus der Praxis: </a:t>
            </a:r>
            <a:br>
              <a:rPr lang="de-DE" sz="2000" dirty="0"/>
            </a:br>
            <a:r>
              <a:rPr lang="de-DE" sz="2000" dirty="0">
                <a:latin typeface="Arial"/>
                <a:cs typeface="Arial"/>
              </a:rPr>
              <a:t>„Transformation gestalten: Partizipative berufliche Bildung im Krankenhaus“; </a:t>
            </a:r>
            <a:br>
              <a:rPr lang="de-DE" sz="2000" dirty="0"/>
            </a:br>
            <a:r>
              <a:rPr lang="de-DE" sz="2000" dirty="0">
                <a:latin typeface="Arial"/>
                <a:cs typeface="Arial"/>
              </a:rPr>
              <a:t>Online unter: </a:t>
            </a:r>
            <a:r>
              <a:rPr lang="de-DE" sz="2000" i="1" dirty="0">
                <a:latin typeface="Arial"/>
                <a:cs typeface="Arial"/>
              </a:rPr>
              <a:t>https://www.bwpat.de/ausgabe49/hiestand_etal_bwpat49.pdf </a:t>
            </a:r>
          </a:p>
          <a:p>
            <a:pPr marL="175895" indent="-175895"/>
            <a:endParaRPr lang="de-DE" sz="2000" b="1" dirty="0">
              <a:solidFill>
                <a:srgbClr val="00B7A9"/>
              </a:solidFill>
            </a:endParaRPr>
          </a:p>
          <a:p>
            <a:pPr marL="175895" indent="-175895"/>
            <a:endParaRPr lang="de-DE" sz="2000" b="1" dirty="0">
              <a:solidFill>
                <a:srgbClr val="00B7A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0063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1343546"/>
            <a:ext cx="11328400" cy="789310"/>
          </a:xfrm>
        </p:spPr>
        <p:txBody>
          <a:bodyPr anchor="t">
            <a:normAutofit/>
          </a:bodyPr>
          <a:lstStyle/>
          <a:p>
            <a:r>
              <a:rPr lang="de-DE"/>
              <a:t>Unsere AGENDA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4CF1F9C-8742-EF21-A567-A419DB0614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416" y="2241490"/>
            <a:ext cx="6336704" cy="3959285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kern="100">
                <a:effectLst/>
                <a:ea typeface="Aptos" panose="020B0004020202020204" pitchFamily="34" charset="0"/>
              </a:rPr>
              <a:t>Stand des Projekts</a:t>
            </a:r>
          </a:p>
          <a:p>
            <a:pPr marL="342900" lvl="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kern="100">
                <a:effectLst/>
                <a:ea typeface="Aptos" panose="020B0004020202020204" pitchFamily="34" charset="0"/>
              </a:rPr>
              <a:t>Einblicke in die Projektpraxis</a:t>
            </a:r>
            <a:endParaRPr lang="de-DE" sz="1600" kern="100">
              <a:effectLst/>
              <a:ea typeface="Aptos" panose="020B0004020202020204" pitchFamily="34" charset="0"/>
            </a:endParaRPr>
          </a:p>
          <a:p>
            <a:pPr marL="518795" lvl="1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800" kern="100">
                <a:ea typeface="Aptos" panose="020B0004020202020204" pitchFamily="34" charset="0"/>
              </a:rPr>
              <a:t>Digitale Lernpfade</a:t>
            </a:r>
          </a:p>
          <a:p>
            <a:pPr marL="518795" lvl="1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800" kern="100">
                <a:ea typeface="Aptos" panose="020B0004020202020204" pitchFamily="34" charset="0"/>
              </a:rPr>
              <a:t>Visionen zur Zukunft</a:t>
            </a:r>
          </a:p>
          <a:p>
            <a:pPr marL="518795" lvl="1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800" kern="100">
                <a:ea typeface="Aptos" panose="020B0004020202020204" pitchFamily="34" charset="0"/>
              </a:rPr>
              <a:t>Bedarfsanalysen</a:t>
            </a:r>
          </a:p>
          <a:p>
            <a:pPr marL="518795" lvl="1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800" kern="100">
                <a:ea typeface="Aptos" panose="020B0004020202020204" pitchFamily="34" charset="0"/>
              </a:rPr>
              <a:t>Lernwerkstatt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kern="100">
                <a:ea typeface="Aptos" panose="020B0004020202020204" pitchFamily="34" charset="0"/>
              </a:rPr>
              <a:t>Vorstellung des Entwurfs: Lern- und Kompetenzarchitektur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kern="100">
                <a:effectLst/>
                <a:ea typeface="Aptos" panose="020B0004020202020204" pitchFamily="34" charset="0"/>
              </a:rPr>
              <a:t>Transfer</a:t>
            </a:r>
          </a:p>
          <a:p>
            <a:pPr marL="342900" lvl="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kern="100">
                <a:effectLst/>
                <a:ea typeface="Aptos" panose="020B0004020202020204" pitchFamily="34" charset="0"/>
              </a:rPr>
              <a:t>Weitere Planung der Beiratsarb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8" name="Grafik 7" descr="Ein Bild, das Screenshot, Grafiken, Design, Diagramm enthält.&#10;&#10;Automatisch generierte Beschreibung">
            <a:extLst>
              <a:ext uri="{FF2B5EF4-FFF2-40B4-BE49-F238E27FC236}">
                <a16:creationId xmlns:a16="http://schemas.microsoft.com/office/drawing/2014/main" id="{8ABB54A1-D882-AD5A-5353-FE456AF75A0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1738201"/>
            <a:ext cx="4115561" cy="4221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9578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013B7B00-2B22-F47D-CF96-472FEA0741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0771" y="1952496"/>
            <a:ext cx="4833377" cy="3625033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18821018-C823-E3C5-4353-51AC37FFEA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951" y="1295360"/>
            <a:ext cx="2916474" cy="2187356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454ED3E-9B97-4F6A-D8C9-E295B088E6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54445" y="1826611"/>
            <a:ext cx="2907604" cy="387680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766C801-E548-AA42-7354-E07084C472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54976" y="3765014"/>
            <a:ext cx="2227775" cy="2970367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9A25CC80-845E-4630-B963-C7B8EFB0FD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018" y="1295360"/>
            <a:ext cx="6319729" cy="789310"/>
          </a:xfrm>
        </p:spPr>
        <p:txBody>
          <a:bodyPr/>
          <a:lstStyle/>
          <a:p>
            <a:r>
              <a:rPr lang="de-DE" dirty="0"/>
              <a:t>Ver.di Transfer Workshop</a:t>
            </a:r>
          </a:p>
        </p:txBody>
      </p:sp>
    </p:spTree>
    <p:extLst>
      <p:ext uri="{BB962C8B-B14F-4D97-AF65-F5344CB8AC3E}">
        <p14:creationId xmlns:p14="http://schemas.microsoft.com/office/powerpoint/2010/main" val="428820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2AC290-AD82-95B9-4119-72F7F93EE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514D6E-5AA1-06B2-AD02-924C3013C1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 Black"/>
              </a:rPr>
              <a:t> Transfer - geplant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395CFA9-0FD6-6485-D362-F163DF0AB0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6021" y="1837206"/>
            <a:ext cx="11455400" cy="4539531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</a:pPr>
            <a:endParaRPr lang="de-DE" sz="2000" b="1">
              <a:solidFill>
                <a:srgbClr val="00B7A9"/>
              </a:solidFill>
            </a:endParaRPr>
          </a:p>
          <a:p>
            <a:pPr marL="175895" indent="-17589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latin typeface="Arial"/>
                <a:cs typeface="Arial"/>
              </a:rPr>
              <a:t>26.03.2026 Transferworkshop </a:t>
            </a:r>
            <a:r>
              <a:rPr lang="de-DE" sz="2000" dirty="0" err="1">
                <a:latin typeface="Arial"/>
                <a:cs typeface="Arial"/>
              </a:rPr>
              <a:t>Clinotel</a:t>
            </a:r>
            <a:r>
              <a:rPr lang="de-DE" sz="2000" dirty="0">
                <a:latin typeface="Arial"/>
                <a:cs typeface="Arial"/>
              </a:rPr>
              <a:t> online</a:t>
            </a:r>
            <a:endParaRPr lang="de-DE" sz="2000">
              <a:latin typeface="Arial"/>
              <a:cs typeface="Arial"/>
            </a:endParaRPr>
          </a:p>
          <a:p>
            <a:pPr marL="175895" indent="-17589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latin typeface="Arial"/>
                <a:cs typeface="Arial"/>
              </a:rPr>
              <a:t>07./08.05.2026 Symposium auf der Tagung „Resilienz in der Pflege“ (BIBB)</a:t>
            </a:r>
            <a:endParaRPr lang="de-DE" sz="2000">
              <a:latin typeface="Arial"/>
              <a:cs typeface="Arial"/>
            </a:endParaRPr>
          </a:p>
          <a:p>
            <a:pPr marL="175895" indent="-17589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latin typeface="Arial"/>
                <a:cs typeface="Arial"/>
              </a:rPr>
              <a:t>Workshop im Pflegenetzwerk (BMG)</a:t>
            </a:r>
            <a:endParaRPr lang="de-DE" sz="2000">
              <a:latin typeface="Arial"/>
              <a:cs typeface="Arial"/>
            </a:endParaRPr>
          </a:p>
          <a:p>
            <a:pPr marL="175895" indent="-17589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000" b="1"/>
              <a:t>30.09./01.10.2026: Fachtagung </a:t>
            </a:r>
            <a:r>
              <a:rPr lang="de-DE" sz="2000" b="1" err="1"/>
              <a:t>LeKoK</a:t>
            </a:r>
            <a:r>
              <a:rPr lang="de-DE" sz="2000" b="1"/>
              <a:t> / NapiK an der Pädagogischen Hochschule Freiburg</a:t>
            </a:r>
          </a:p>
          <a:p>
            <a:pPr marL="175895" indent="-17589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Beiträge im Sammelband: „Berufliche Bildung: Gesundheit, Energie und Sicherheit im Fokus“ </a:t>
            </a:r>
            <a:endParaRPr lang="de-DE" sz="2000"/>
          </a:p>
          <a:p>
            <a:pPr marL="175895" indent="-17589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000" dirty="0"/>
              <a:t>Weitere Transferformate: Handreichungen mit begleitenden Lerntools, z. B. Podcasts, Videos etc.</a:t>
            </a:r>
            <a:endParaRPr lang="de-DE" sz="2000"/>
          </a:p>
          <a:p>
            <a:pPr marL="175895" indent="-17589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3885707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AD1B2C-3B58-9A0D-3282-75C677241D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BC0109-EC7C-27EB-F363-FD2D54EE2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43546"/>
            <a:ext cx="11328400" cy="393814"/>
          </a:xfrm>
        </p:spPr>
        <p:txBody>
          <a:bodyPr anchor="t">
            <a:normAutofit/>
          </a:bodyPr>
          <a:lstStyle/>
          <a:p>
            <a:r>
              <a:rPr lang="de-DE">
                <a:latin typeface="Arial Black"/>
              </a:rPr>
              <a:t>Diskussion und Impulse zum Transfer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AC25A96-2F64-2699-B2EA-8163C9F746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868" y="2284926"/>
            <a:ext cx="4944120" cy="3528392"/>
          </a:xfrm>
        </p:spPr>
        <p:txBody>
          <a:bodyPr anchor="t"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endParaRPr lang="de-DE" sz="2000" b="1"/>
          </a:p>
          <a:p>
            <a:pPr marL="175895" indent="-17589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000"/>
              <a:t>Was sollte aus </a:t>
            </a:r>
            <a:r>
              <a:rPr lang="de-DE" sz="2000" err="1"/>
              <a:t>LeKoK</a:t>
            </a:r>
            <a:r>
              <a:rPr lang="de-DE" sz="2000"/>
              <a:t> für den Transfer aufbereitet werden ?</a:t>
            </a:r>
          </a:p>
          <a:p>
            <a:pPr marL="175895" indent="-17589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000"/>
              <a:t>Welche Krankenhäuser aus Baden-Württemberg oder auch bundesweit sollten wir ansprechen?</a:t>
            </a:r>
          </a:p>
          <a:p>
            <a:pPr marL="175895" indent="-17589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000"/>
              <a:t>Welche weiteren </a:t>
            </a:r>
            <a:r>
              <a:rPr lang="de-DE" sz="2000" err="1"/>
              <a:t>Insitutionen</a:t>
            </a:r>
            <a:r>
              <a:rPr lang="de-DE" sz="2000"/>
              <a:t>/Verbände/Netzwerke sollten wir für den Transfer interessieren?</a:t>
            </a:r>
          </a:p>
          <a:p>
            <a:pPr marL="175895" indent="-17589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dirty="0"/>
          </a:p>
          <a:p>
            <a:pPr marL="175895" indent="-175895">
              <a:spcAft>
                <a:spcPts val="600"/>
              </a:spcAft>
            </a:pPr>
            <a:endParaRPr lang="de-DE" dirty="0"/>
          </a:p>
          <a:p>
            <a:pPr marL="175895" indent="-175895"/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4" name="Picture 3" descr="Personen, die an Ideen arbeiten">
            <a:extLst>
              <a:ext uri="{FF2B5EF4-FFF2-40B4-BE49-F238E27FC236}">
                <a16:creationId xmlns:a16="http://schemas.microsoft.com/office/drawing/2014/main" id="{A2C018A6-EBA6-0D33-BA20-F81766D4724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901" r="21890" b="2"/>
          <a:stretch>
            <a:fillRect/>
          </a:stretch>
        </p:blipFill>
        <p:spPr>
          <a:xfrm>
            <a:off x="6278229" y="2681849"/>
            <a:ext cx="4735514" cy="301375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43554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CC1F1509-8F78-A3BD-739E-0EB0716D61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3419" y="2843720"/>
            <a:ext cx="7464829" cy="180000"/>
          </a:xfrm>
        </p:spPr>
        <p:txBody>
          <a:bodyPr/>
          <a:lstStyle/>
          <a:p>
            <a:r>
              <a:rPr lang="de-DE"/>
              <a:t>Weitere Planung &amp; </a:t>
            </a:r>
            <a:br>
              <a:rPr lang="de-DE"/>
            </a:br>
            <a:r>
              <a:rPr lang="de-DE"/>
              <a:t>Vereinbarungen</a:t>
            </a:r>
          </a:p>
        </p:txBody>
      </p:sp>
    </p:spTree>
    <p:extLst>
      <p:ext uri="{BB962C8B-B14F-4D97-AF65-F5344CB8AC3E}">
        <p14:creationId xmlns:p14="http://schemas.microsoft.com/office/powerpoint/2010/main" val="25089253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Vielen Dank für Ihre </a:t>
            </a:r>
            <a:br>
              <a:rPr lang="de-DE"/>
            </a:br>
            <a:r>
              <a:rPr lang="de-DE"/>
              <a:t>Ideen und Ihr Engagement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6CEEBE7-FF74-5380-C5E6-1C312D349F77}"/>
              </a:ext>
            </a:extLst>
          </p:cNvPr>
          <p:cNvSpPr txBox="1"/>
          <p:nvPr/>
        </p:nvSpPr>
        <p:spPr>
          <a:xfrm>
            <a:off x="6384032" y="6124654"/>
            <a:ext cx="6840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>
                <a:solidFill>
                  <a:srgbClr val="66E0D7"/>
                </a:solidFill>
              </a:rPr>
              <a:t>Bildnachweis: wenn nicht anders angeben, dann </a:t>
            </a:r>
            <a:r>
              <a:rPr lang="de-DE" i="1" err="1">
                <a:solidFill>
                  <a:srgbClr val="66E0D7"/>
                </a:solidFill>
              </a:rPr>
              <a:t>pixabay</a:t>
            </a:r>
            <a:endParaRPr lang="de-DE" i="1">
              <a:solidFill>
                <a:srgbClr val="66E0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674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C175AC-94EF-B147-52B8-4E334B43FA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3419" y="3284984"/>
            <a:ext cx="6672741" cy="1368152"/>
          </a:xfrm>
        </p:spPr>
        <p:txBody>
          <a:bodyPr anchor="t">
            <a:normAutofit/>
          </a:bodyPr>
          <a:lstStyle/>
          <a:p>
            <a:r>
              <a:rPr lang="de-DE" sz="3700"/>
              <a:t>Stand des Projekts</a:t>
            </a:r>
          </a:p>
        </p:txBody>
      </p:sp>
    </p:spTree>
    <p:extLst>
      <p:ext uri="{BB962C8B-B14F-4D97-AF65-F5344CB8AC3E}">
        <p14:creationId xmlns:p14="http://schemas.microsoft.com/office/powerpoint/2010/main" val="36553125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1E3E739D-B26C-B492-2F22-33D666BD6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43546"/>
            <a:ext cx="11328400" cy="789310"/>
          </a:xfrm>
        </p:spPr>
        <p:txBody>
          <a:bodyPr anchor="t">
            <a:normAutofit/>
          </a:bodyPr>
          <a:lstStyle/>
          <a:p>
            <a:r>
              <a:rPr lang="de-DE"/>
              <a:t>Meilensteine</a:t>
            </a:r>
          </a:p>
        </p:txBody>
      </p:sp>
      <p:graphicFrame>
        <p:nvGraphicFramePr>
          <p:cNvPr id="6" name="Tabelle 7">
            <a:extLst>
              <a:ext uri="{FF2B5EF4-FFF2-40B4-BE49-F238E27FC236}">
                <a16:creationId xmlns:a16="http://schemas.microsoft.com/office/drawing/2014/main" id="{CC74079E-10F7-46A7-B52D-0E663F57E06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7067425"/>
              </p:ext>
            </p:extLst>
          </p:nvPr>
        </p:nvGraphicFramePr>
        <p:xfrm>
          <a:off x="754730" y="1765900"/>
          <a:ext cx="10599070" cy="45697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5468">
                  <a:extLst>
                    <a:ext uri="{9D8B030D-6E8A-4147-A177-3AD203B41FA5}">
                      <a16:colId xmlns:a16="http://schemas.microsoft.com/office/drawing/2014/main" val="3233885805"/>
                    </a:ext>
                  </a:extLst>
                </a:gridCol>
                <a:gridCol w="3201086">
                  <a:extLst>
                    <a:ext uri="{9D8B030D-6E8A-4147-A177-3AD203B41FA5}">
                      <a16:colId xmlns:a16="http://schemas.microsoft.com/office/drawing/2014/main" val="3238465464"/>
                    </a:ext>
                  </a:extLst>
                </a:gridCol>
                <a:gridCol w="3262748">
                  <a:extLst>
                    <a:ext uri="{9D8B030D-6E8A-4147-A177-3AD203B41FA5}">
                      <a16:colId xmlns:a16="http://schemas.microsoft.com/office/drawing/2014/main" val="2537007647"/>
                    </a:ext>
                  </a:extLst>
                </a:gridCol>
                <a:gridCol w="2649768">
                  <a:extLst>
                    <a:ext uri="{9D8B030D-6E8A-4147-A177-3AD203B41FA5}">
                      <a16:colId xmlns:a16="http://schemas.microsoft.com/office/drawing/2014/main" val="1617282281"/>
                    </a:ext>
                  </a:extLst>
                </a:gridCol>
              </a:tblGrid>
              <a:tr h="451412">
                <a:tc>
                  <a:txBody>
                    <a:bodyPr/>
                    <a:lstStyle/>
                    <a:p>
                      <a:r>
                        <a:rPr lang="de-DE"/>
                        <a:t>2023</a:t>
                      </a:r>
                    </a:p>
                  </a:txBody>
                  <a:tcPr>
                    <a:solidFill>
                      <a:srgbClr val="66E0D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/>
                        <a:t>2024</a:t>
                      </a:r>
                    </a:p>
                  </a:txBody>
                  <a:tcPr>
                    <a:solidFill>
                      <a:srgbClr val="66E0D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/>
                        <a:t>2025</a:t>
                      </a:r>
                    </a:p>
                  </a:txBody>
                  <a:tcPr>
                    <a:solidFill>
                      <a:srgbClr val="66E0D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/>
                        <a:t>2026</a:t>
                      </a:r>
                    </a:p>
                  </a:txBody>
                  <a:tcPr>
                    <a:solidFill>
                      <a:srgbClr val="66E0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191968"/>
                  </a:ext>
                </a:extLst>
              </a:tr>
              <a:tr h="4118358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66E0D7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66E0D7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66E0D7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  <a:p>
                      <a:endParaRPr lang="de-DE"/>
                    </a:p>
                    <a:p>
                      <a:endParaRPr lang="de-DE"/>
                    </a:p>
                    <a:p>
                      <a:endParaRPr lang="de-DE"/>
                    </a:p>
                    <a:p>
                      <a:endParaRPr lang="de-DE"/>
                    </a:p>
                    <a:p>
                      <a:endParaRPr lang="de-DE"/>
                    </a:p>
                    <a:p>
                      <a:endParaRPr lang="de-DE"/>
                    </a:p>
                    <a:p>
                      <a:endParaRPr lang="de-DE"/>
                    </a:p>
                    <a:p>
                      <a:endParaRPr lang="de-DE"/>
                    </a:p>
                    <a:p>
                      <a:endParaRPr lang="de-DE"/>
                    </a:p>
                    <a:p>
                      <a:endParaRPr lang="de-DE"/>
                    </a:p>
                    <a:p>
                      <a:endParaRPr lang="de-DE"/>
                    </a:p>
                  </a:txBody>
                  <a:tcPr>
                    <a:solidFill>
                      <a:srgbClr val="66E0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021345"/>
                  </a:ext>
                </a:extLst>
              </a:tr>
            </a:tbl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2B2B8806-3BD8-4B0C-882C-113678E1582E}"/>
              </a:ext>
            </a:extLst>
          </p:cNvPr>
          <p:cNvSpPr/>
          <p:nvPr/>
        </p:nvSpPr>
        <p:spPr>
          <a:xfrm>
            <a:off x="938156" y="2374512"/>
            <a:ext cx="10183810" cy="385010"/>
          </a:xfrm>
          <a:prstGeom prst="rect">
            <a:avLst/>
          </a:prstGeom>
          <a:solidFill>
            <a:srgbClr val="541AA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organisation: Team, Steuerungsgruppe, Beirat, Öffentlichkeitsarbeit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21538E4-7063-A8FC-9284-DF2E9095394F}"/>
              </a:ext>
            </a:extLst>
          </p:cNvPr>
          <p:cNvSpPr/>
          <p:nvPr/>
        </p:nvSpPr>
        <p:spPr>
          <a:xfrm>
            <a:off x="2243388" y="3160590"/>
            <a:ext cx="3128211" cy="385010"/>
          </a:xfrm>
          <a:prstGeom prst="rect">
            <a:avLst/>
          </a:prstGeom>
          <a:solidFill>
            <a:srgbClr val="541AA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 - Vision, Bedarfsanalys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41BA9D1-76B4-EB8A-1B85-9F4B07C948A1}"/>
              </a:ext>
            </a:extLst>
          </p:cNvPr>
          <p:cNvSpPr/>
          <p:nvPr/>
        </p:nvSpPr>
        <p:spPr>
          <a:xfrm>
            <a:off x="3866523" y="4098479"/>
            <a:ext cx="7279999" cy="385010"/>
          </a:xfrm>
          <a:prstGeom prst="rect">
            <a:avLst/>
          </a:prstGeom>
          <a:solidFill>
            <a:srgbClr val="541AA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petenzentwicklung: Tools, Lernplattform, Erprobung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614CF46-745D-B096-D510-59D97C360182}"/>
              </a:ext>
            </a:extLst>
          </p:cNvPr>
          <p:cNvSpPr/>
          <p:nvPr/>
        </p:nvSpPr>
        <p:spPr>
          <a:xfrm>
            <a:off x="5499819" y="4856225"/>
            <a:ext cx="5622147" cy="360286"/>
          </a:xfrm>
          <a:prstGeom prst="rect">
            <a:avLst/>
          </a:prstGeom>
          <a:solidFill>
            <a:srgbClr val="541AA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rn- und Kompetenzarchitektur: Erstellung/Anpassung 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AFDBD89-47D1-C6BD-5249-086A4546C103}"/>
              </a:ext>
            </a:extLst>
          </p:cNvPr>
          <p:cNvSpPr/>
          <p:nvPr/>
        </p:nvSpPr>
        <p:spPr>
          <a:xfrm>
            <a:off x="6053764" y="5589247"/>
            <a:ext cx="5092758" cy="360286"/>
          </a:xfrm>
          <a:prstGeom prst="rect">
            <a:avLst/>
          </a:prstGeom>
          <a:solidFill>
            <a:srgbClr val="541AA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er: Aufbereitung, Implementierung BaWü</a:t>
            </a:r>
          </a:p>
        </p:txBody>
      </p:sp>
      <p:sp>
        <p:nvSpPr>
          <p:cNvPr id="14" name="Pfeil: nach unten 13">
            <a:extLst>
              <a:ext uri="{FF2B5EF4-FFF2-40B4-BE49-F238E27FC236}">
                <a16:creationId xmlns:a16="http://schemas.microsoft.com/office/drawing/2014/main" id="{9A0AB562-9F36-FD1D-7D51-6A54F1C32A17}"/>
              </a:ext>
            </a:extLst>
          </p:cNvPr>
          <p:cNvSpPr/>
          <p:nvPr/>
        </p:nvSpPr>
        <p:spPr>
          <a:xfrm>
            <a:off x="8839200" y="970810"/>
            <a:ext cx="404332" cy="673700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257C0E-C0E2-D67C-AD53-5459757EF097}"/>
              </a:ext>
            </a:extLst>
          </p:cNvPr>
          <p:cNvSpPr/>
          <p:nvPr/>
        </p:nvSpPr>
        <p:spPr>
          <a:xfrm>
            <a:off x="2243388" y="3161155"/>
            <a:ext cx="8903134" cy="384445"/>
          </a:xfrm>
          <a:prstGeom prst="rect">
            <a:avLst/>
          </a:prstGeom>
          <a:solidFill>
            <a:srgbClr val="541AA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 - Vision, Bedarfsanalysen</a:t>
            </a:r>
          </a:p>
        </p:txBody>
      </p:sp>
    </p:spTree>
    <p:extLst>
      <p:ext uri="{BB962C8B-B14F-4D97-AF65-F5344CB8AC3E}">
        <p14:creationId xmlns:p14="http://schemas.microsoft.com/office/powerpoint/2010/main" val="1083937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C175AC-94EF-B147-52B8-4E334B43FA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3419" y="3284984"/>
            <a:ext cx="6672741" cy="1368152"/>
          </a:xfrm>
        </p:spPr>
        <p:txBody>
          <a:bodyPr anchor="t">
            <a:normAutofit/>
          </a:bodyPr>
          <a:lstStyle/>
          <a:p>
            <a:r>
              <a:rPr lang="de-DE" sz="3700"/>
              <a:t>Einblick in die Projektpraxis</a:t>
            </a:r>
          </a:p>
        </p:txBody>
      </p:sp>
    </p:spTree>
    <p:extLst>
      <p:ext uri="{BB962C8B-B14F-4D97-AF65-F5344CB8AC3E}">
        <p14:creationId xmlns:p14="http://schemas.microsoft.com/office/powerpoint/2010/main" val="7333481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9F1858-4ABA-4864-4158-84E0560B8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852" y="3405699"/>
            <a:ext cx="4966918" cy="789310"/>
          </a:xfrm>
        </p:spPr>
        <p:txBody>
          <a:bodyPr anchor="t">
            <a:normAutofit/>
          </a:bodyPr>
          <a:lstStyle/>
          <a:p>
            <a:r>
              <a:rPr lang="de-DE" dirty="0"/>
              <a:t>Digitale Lernpfade</a:t>
            </a:r>
          </a:p>
        </p:txBody>
      </p:sp>
      <p:pic>
        <p:nvPicPr>
          <p:cNvPr id="5" name="Inhaltsplatzhalter 4" descr="Ein Bild, das Text, Screenshot, Website, Onlinewerbung enthält.&#10;&#10;KI-generierte Inhalte können fehlerhaft sein.">
            <a:extLst>
              <a:ext uri="{FF2B5EF4-FFF2-40B4-BE49-F238E27FC236}">
                <a16:creationId xmlns:a16="http://schemas.microsoft.com/office/drawing/2014/main" id="{68B533E2-A475-8CEB-383E-B97D2F3D88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482578" y="1194691"/>
            <a:ext cx="7252570" cy="49136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04151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96F8D-77A0-F4D0-B481-CE6C6A193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 Black"/>
              </a:rPr>
              <a:t>Diskussion und Impulse zu den digitalen </a:t>
            </a:r>
            <a:r>
              <a:rPr lang="de-DE" err="1">
                <a:latin typeface="Arial Black"/>
              </a:rPr>
              <a:t>lernpfaden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8F73FC-D1A2-7E0D-6304-2E01115D43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2294405"/>
            <a:ext cx="5664200" cy="3906371"/>
          </a:xfrm>
        </p:spPr>
        <p:txBody>
          <a:bodyPr/>
          <a:lstStyle/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>
              <a:buFont typeface="Arial" panose="020B0604020202020204" pitchFamily="34" charset="0"/>
              <a:buChar char="•"/>
            </a:pPr>
            <a:r>
              <a:rPr lang="de-DE"/>
              <a:t>Wie ist Ihre erste Resonanz?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/>
              <a:t>Welche Empfehlungen würden Sie uns mit Blick auf das weitere Vorgehen geben?</a:t>
            </a:r>
          </a:p>
        </p:txBody>
      </p:sp>
      <p:pic>
        <p:nvPicPr>
          <p:cNvPr id="4" name="Picture 3" descr="Personen, die an Ideen arbeiten">
            <a:extLst>
              <a:ext uri="{FF2B5EF4-FFF2-40B4-BE49-F238E27FC236}">
                <a16:creationId xmlns:a16="http://schemas.microsoft.com/office/drawing/2014/main" id="{FD5D973F-BD35-52E5-5407-38B020F50EA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901" r="21890" b="2"/>
          <a:stretch>
            <a:fillRect/>
          </a:stretch>
        </p:blipFill>
        <p:spPr>
          <a:xfrm>
            <a:off x="6278229" y="2681849"/>
            <a:ext cx="4735514" cy="301375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421170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3D8D69-5196-E277-727E-3C9C769D78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7A9F52-4FE3-BD4D-FECF-ABFF012D9E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Visionen zur </a:t>
            </a:r>
            <a:r>
              <a:rPr lang="de-DE" err="1"/>
              <a:t>zukunft</a:t>
            </a:r>
            <a:r>
              <a:rPr lang="de-DE"/>
              <a:t>…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65DFDB-098A-1B92-4102-0BB8F64E15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Kleingruppenarbeit (Change </a:t>
            </a:r>
            <a:r>
              <a:rPr lang="de-DE" dirty="0" err="1"/>
              <a:t>Agents</a:t>
            </a:r>
            <a:r>
              <a:rPr lang="de-DE" dirty="0"/>
              <a:t> &amp; Projektteam) mit LEGO </a:t>
            </a:r>
            <a:r>
              <a:rPr lang="de-DE" dirty="0" err="1"/>
              <a:t>Serious</a:t>
            </a:r>
            <a:r>
              <a:rPr lang="de-DE" dirty="0"/>
              <a:t> Pla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Erarbeitung von Zukunftsbildern / Vision für die Zeit nach </a:t>
            </a:r>
            <a:r>
              <a:rPr lang="de-DE" dirty="0" err="1"/>
              <a:t>LeKoK</a:t>
            </a:r>
            <a:endParaRPr lang="de-DE" dirty="0"/>
          </a:p>
        </p:txBody>
      </p:sp>
      <p:pic>
        <p:nvPicPr>
          <p:cNvPr id="6" name="Grafik 5" descr="Ein Bild, das Maßstabsmodell, Bauklotz, Bauspielzeug, Spielset enthält.&#10;&#10;KI-generierte Inhalte können fehlerhaft sein.">
            <a:extLst>
              <a:ext uri="{FF2B5EF4-FFF2-40B4-BE49-F238E27FC236}">
                <a16:creationId xmlns:a16="http://schemas.microsoft.com/office/drawing/2014/main" id="{FA1DDDC9-FE93-ED32-04BF-6AD894C9BA5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9438" b="22625"/>
          <a:stretch>
            <a:fillRect/>
          </a:stretch>
        </p:blipFill>
        <p:spPr>
          <a:xfrm>
            <a:off x="278016" y="3093217"/>
            <a:ext cx="3541797" cy="2912824"/>
          </a:xfrm>
          <a:prstGeom prst="rect">
            <a:avLst/>
          </a:prstGeom>
        </p:spPr>
      </p:pic>
      <p:pic>
        <p:nvPicPr>
          <p:cNvPr id="8" name="Grafik 7" descr="Ein Bild, das Kinderkunst, Kunst enthält.&#10;&#10;KI-generierte Inhalte können fehlerhaft sein.">
            <a:extLst>
              <a:ext uri="{FF2B5EF4-FFF2-40B4-BE49-F238E27FC236}">
                <a16:creationId xmlns:a16="http://schemas.microsoft.com/office/drawing/2014/main" id="{A5CB8ACD-3FBB-F4E6-286B-D14B9E5D3A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3" t="2742" r="1564" b="11514"/>
          <a:stretch>
            <a:fillRect/>
          </a:stretch>
        </p:blipFill>
        <p:spPr>
          <a:xfrm>
            <a:off x="3943116" y="3093217"/>
            <a:ext cx="2886060" cy="2912824"/>
          </a:xfrm>
          <a:prstGeom prst="rect">
            <a:avLst/>
          </a:prstGeom>
        </p:spPr>
      </p:pic>
      <p:pic>
        <p:nvPicPr>
          <p:cNvPr id="10" name="Grafik 9" descr="Ein Bild, das Spielzeug, Im Haus, Kreative Künste, Wand enthält.&#10;&#10;KI-generierte Inhalte können fehlerhaft sein.">
            <a:extLst>
              <a:ext uri="{FF2B5EF4-FFF2-40B4-BE49-F238E27FC236}">
                <a16:creationId xmlns:a16="http://schemas.microsoft.com/office/drawing/2014/main" id="{7A3252E4-01E5-1911-5C96-174567F9AA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89" r="13549"/>
          <a:stretch>
            <a:fillRect/>
          </a:stretch>
        </p:blipFill>
        <p:spPr>
          <a:xfrm rot="5400000">
            <a:off x="9251205" y="3381594"/>
            <a:ext cx="2908505" cy="2331751"/>
          </a:xfrm>
          <a:prstGeom prst="rect">
            <a:avLst/>
          </a:prstGeom>
        </p:spPr>
      </p:pic>
      <p:pic>
        <p:nvPicPr>
          <p:cNvPr id="12" name="Grafik 11" descr="Ein Bild, das Im Haus, Plastik, Spielzeug enthält.&#10;&#10;KI-generierte Inhalte können fehlerhaft sein.">
            <a:extLst>
              <a:ext uri="{FF2B5EF4-FFF2-40B4-BE49-F238E27FC236}">
                <a16:creationId xmlns:a16="http://schemas.microsoft.com/office/drawing/2014/main" id="{F2229CEC-1F99-1A9F-EADB-6FD34B638E3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1" r="13378" b="4491"/>
          <a:stretch>
            <a:fillRect/>
          </a:stretch>
        </p:blipFill>
        <p:spPr>
          <a:xfrm rot="5400000">
            <a:off x="6730127" y="3315570"/>
            <a:ext cx="2908504" cy="2463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161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AFECB4-DF53-8057-465F-88F829493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ego Vision 4">
            <a:hlinkClick r:id="" action="ppaction://media"/>
            <a:extLst>
              <a:ext uri="{FF2B5EF4-FFF2-40B4-BE49-F238E27FC236}">
                <a16:creationId xmlns:a16="http://schemas.microsoft.com/office/drawing/2014/main" id="{D39A705A-4C4D-0293-B1F6-A9399A02AFD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00685" y="148633"/>
            <a:ext cx="11590629" cy="6560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823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972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AS_ESF_PowerPoint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tandarddesign">
  <a:themeElements>
    <a:clrScheme name="Benutzerdefiniert 1">
      <a:dk1>
        <a:srgbClr val="3E3D40"/>
      </a:dk1>
      <a:lt1>
        <a:srgbClr val="FFFFFF"/>
      </a:lt1>
      <a:dk2>
        <a:srgbClr val="3E3D40"/>
      </a:dk2>
      <a:lt2>
        <a:srgbClr val="808080"/>
      </a:lt2>
      <a:accent1>
        <a:srgbClr val="0079BC"/>
      </a:accent1>
      <a:accent2>
        <a:srgbClr val="4B8FC8"/>
      </a:accent2>
      <a:accent3>
        <a:srgbClr val="83AAD6"/>
      </a:accent3>
      <a:accent4>
        <a:srgbClr val="C6C7C8"/>
      </a:accent4>
      <a:accent5>
        <a:srgbClr val="ECEDED"/>
      </a:accent5>
      <a:accent6>
        <a:srgbClr val="FFFFFF"/>
      </a:accent6>
      <a:hlink>
        <a:srgbClr val="009999"/>
      </a:hlink>
      <a:folHlink>
        <a:srgbClr val="99CC00"/>
      </a:folHlink>
    </a:clrScheme>
    <a:fontScheme name="Benutzerdefiniert 1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1030_Vorlagen Grafiken Krankenhausbarometer Think Cell" id="{1B963FC8-6D15-466F-9F6C-2F9113C19DB0}" vid="{EBAE86A1-9736-4BA2-B278-EB8A933D5C61}"/>
    </a:ext>
  </a:extLst>
</a:theme>
</file>

<file path=ppt/theme/theme3.xml><?xml version="1.0" encoding="utf-8"?>
<a:theme xmlns:a="http://schemas.openxmlformats.org/drawingml/2006/main" name="2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BMAS_ESF_PowerPoint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234D8611739BA4DB06D13D0FE7F760A" ma:contentTypeVersion="14" ma:contentTypeDescription="Ein neues Dokument erstellen." ma:contentTypeScope="" ma:versionID="4a881308e872e6e71e66360d3b5d8c64">
  <xsd:schema xmlns:xsd="http://www.w3.org/2001/XMLSchema" xmlns:xs="http://www.w3.org/2001/XMLSchema" xmlns:p="http://schemas.microsoft.com/office/2006/metadata/properties" xmlns:ns2="69858f0c-b605-40b7-83d7-6e82d3a5570f" xmlns:ns3="1ea5de12-de12-48b2-a6b7-267f167c10a8" targetNamespace="http://schemas.microsoft.com/office/2006/metadata/properties" ma:root="true" ma:fieldsID="d9db26e3ea6b13a89e53a9cae046943d" ns2:_="" ns3:_="">
    <xsd:import namespace="69858f0c-b605-40b7-83d7-6e82d3a5570f"/>
    <xsd:import namespace="1ea5de12-de12-48b2-a6b7-267f167c10a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Inhalt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858f0c-b605-40b7-83d7-6e82d3a557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feaaf634-4b9e-4253-9381-7ec3e7ad456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Inhalt" ma:index="19" nillable="true" ma:displayName="Inhalt" ma:description="Kombination von Blueprint und digitale Kompetenzen" ma:format="Dropdown" ma:internalName="Inhalt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a5de12-de12-48b2-a6b7-267f167c10a8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44eca23-36ad-4131-9e83-fb3e589daa92}" ma:internalName="TaxCatchAll" ma:showField="CatchAllData" ma:web="1ea5de12-de12-48b2-a6b7-267f167c10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nhalt xmlns="69858f0c-b605-40b7-83d7-6e82d3a5570f" xsi:nil="true"/>
    <lcf76f155ced4ddcb4097134ff3c332f xmlns="69858f0c-b605-40b7-83d7-6e82d3a5570f">
      <Terms xmlns="http://schemas.microsoft.com/office/infopath/2007/PartnerControls"/>
    </lcf76f155ced4ddcb4097134ff3c332f>
    <TaxCatchAll xmlns="1ea5de12-de12-48b2-a6b7-267f167c10a8" xsi:nil="true"/>
  </documentManagement>
</p:properties>
</file>

<file path=customXml/itemProps1.xml><?xml version="1.0" encoding="utf-8"?>
<ds:datastoreItem xmlns:ds="http://schemas.openxmlformats.org/officeDocument/2006/customXml" ds:itemID="{3D34F9CF-BE2A-43C2-B0B1-C2DD4E7AB2F9}">
  <ds:schemaRefs>
    <ds:schemaRef ds:uri="1ea5de12-de12-48b2-a6b7-267f167c10a8"/>
    <ds:schemaRef ds:uri="69858f0c-b605-40b7-83d7-6e82d3a5570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9C0D4F8-FECB-45FB-B9BD-37DBFA90D9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BBA121-CB11-49BD-BD6E-0CF5B45C85F7}">
  <ds:schemaRefs>
    <ds:schemaRef ds:uri="http://purl.org/dc/terms/"/>
    <ds:schemaRef ds:uri="1ea5de12-de12-48b2-a6b7-267f167c10a8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69858f0c-b605-40b7-83d7-6e82d3a5570f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MAS_ESF_PowerPoint</Template>
  <TotalTime>0</TotalTime>
  <Words>698</Words>
  <Application>Microsoft Office PowerPoint</Application>
  <PresentationFormat>Breitbild</PresentationFormat>
  <Paragraphs>150</Paragraphs>
  <Slides>24</Slides>
  <Notes>12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7" baseType="lpstr">
      <vt:lpstr>Aptos</vt:lpstr>
      <vt:lpstr>Arial</vt:lpstr>
      <vt:lpstr>Arial Black</vt:lpstr>
      <vt:lpstr>Calibri</vt:lpstr>
      <vt:lpstr>Corbel Light</vt:lpstr>
      <vt:lpstr>Myriad Pro</vt:lpstr>
      <vt:lpstr>Myriad Pro Light</vt:lpstr>
      <vt:lpstr>Wingdings</vt:lpstr>
      <vt:lpstr>BMAS_ESF_PowerPoint</vt:lpstr>
      <vt:lpstr>Standarddesign</vt:lpstr>
      <vt:lpstr>2_Benutzerdefiniertes Design</vt:lpstr>
      <vt:lpstr>1_BMAS_ESF_PowerPoint</vt:lpstr>
      <vt:lpstr>think-cell Folie</vt:lpstr>
      <vt:lpstr>Herzlich willkommen</vt:lpstr>
      <vt:lpstr>Unsere AGENDA</vt:lpstr>
      <vt:lpstr>Stand des Projekts</vt:lpstr>
      <vt:lpstr>Meilensteine</vt:lpstr>
      <vt:lpstr>Einblick in die Projektpraxis</vt:lpstr>
      <vt:lpstr>Digitale Lernpfade</vt:lpstr>
      <vt:lpstr>Diskussion und Impulse zu den digitalen lernpfaden</vt:lpstr>
      <vt:lpstr>Visionen zur zukunft…</vt:lpstr>
      <vt:lpstr>PowerPoint-Präsentation</vt:lpstr>
      <vt:lpstr>PowerPoint-Präsentation</vt:lpstr>
      <vt:lpstr>Diskussion und Impulse zu den zukunftsvisionen</vt:lpstr>
      <vt:lpstr>BedarfsanalyseN  </vt:lpstr>
      <vt:lpstr>Konzept Lernwerkstatt</vt:lpstr>
      <vt:lpstr>Grundlagen der Lernwerkstatt</vt:lpstr>
      <vt:lpstr>Diskussion und Impulse zu den bedarfsanalysen  zur lernwerkstatt</vt:lpstr>
      <vt:lpstr>PowerPoint-Präsentation</vt:lpstr>
      <vt:lpstr>Diskussion und Impulse Lern- und Kompetenzarchitektur</vt:lpstr>
      <vt:lpstr>Transfer</vt:lpstr>
      <vt:lpstr>Transfer - durchgeführt</vt:lpstr>
      <vt:lpstr>Ver.di Transfer Workshop</vt:lpstr>
      <vt:lpstr> Transfer - geplant</vt:lpstr>
      <vt:lpstr>Diskussion und Impulse zum Transfer</vt:lpstr>
      <vt:lpstr>Weitere Planung &amp;  Vereinbarungen</vt:lpstr>
      <vt:lpstr>Vielen Dank für Ihre  Ideen und Ihr Engage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mit zweiter zeile</dc:title>
  <dc:creator>Administrator</dc:creator>
  <cp:lastModifiedBy>Nadine Nothstein</cp:lastModifiedBy>
  <cp:revision>4</cp:revision>
  <dcterms:created xsi:type="dcterms:W3CDTF">2015-02-13T15:26:26Z</dcterms:created>
  <dcterms:modified xsi:type="dcterms:W3CDTF">2026-02-11T13:2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34D8611739BA4DB06D13D0FE7F760A</vt:lpwstr>
  </property>
  <property fmtid="{D5CDD505-2E9C-101B-9397-08002B2CF9AE}" pid="3" name="MediaServiceImageTags">
    <vt:lpwstr/>
  </property>
</Properties>
</file>